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diagrams/colors11.xml" ContentType="application/vnd.openxmlformats-officedocument.drawingml.diagramColors+xml"/>
  <Override PartName="/ppt/slides/slide25.xml" ContentType="application/vnd.openxmlformats-officedocument.presentationml.slide+xml"/>
  <Override PartName="/ppt/slideLayouts/slideLayout2.xml" ContentType="application/vnd.openxmlformats-officedocument.presentationml.slideLayout+xml"/>
  <Override PartName="/ppt/diagrams/layout9.xml" ContentType="application/vnd.openxmlformats-officedocument.drawingml.diagramLayout+xml"/>
  <Override PartName="/ppt/notesSlides/notesSlide27.xml" ContentType="application/vnd.openxmlformats-officedocument.presentationml.notesSlide+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diagrams/quickStyle17.xml" ContentType="application/vnd.openxmlformats-officedocument.drawingml.diagramStyl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diagrams/layout17.xml" ContentType="application/vnd.openxmlformats-officedocument.drawingml.diagramLayout+xml"/>
  <Override PartName="/ppt/notesSlides/notesSlide30.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diagrams/data2.xml" ContentType="application/vnd.openxmlformats-officedocument.drawingml.diagramData+xml"/>
  <Override PartName="/ppt/diagrams/colors4.xml" ContentType="application/vnd.openxmlformats-officedocument.drawingml.diagramColors+xml"/>
  <Override PartName="/ppt/tags/tag30.xml" ContentType="application/vnd.openxmlformats-officedocument.presentationml.tags+xml"/>
  <Override PartName="/ppt/diagrams/drawing10.xml" ContentType="application/vnd.ms-office.drawingml.diagramDrawing+xml"/>
  <Override PartName="/ppt/diagrams/colors16.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quickStyle3.xml" ContentType="application/vnd.openxmlformats-officedocument.drawingml.diagramStyle+xml"/>
  <Override PartName="/ppt/diagrams/data14.xml" ContentType="application/vnd.openxmlformats-officedocument.drawingml.diagramData+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diagrams/layout6.xml" ContentType="application/vnd.openxmlformats-officedocument.drawingml.diagramLayout+xml"/>
  <Override PartName="/ppt/notesSlides/notesSlide24.xml" ContentType="application/vnd.openxmlformats-officedocument.presentationml.notesSlide+xml"/>
  <Override PartName="/ppt/diagrams/data10.xml" ContentType="application/vnd.openxmlformats-officedocument.drawingml.diagramData+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diagrams/data7.xml" ContentType="application/vnd.openxmlformats-officedocument.drawingml.diagramData+xml"/>
  <Override PartName="/ppt/diagrams/colors9.xml" ContentType="application/vnd.openxmlformats-officedocument.drawingml.diagramColors+xml"/>
  <Override PartName="/ppt/tags/tag35.xml" ContentType="application/vnd.openxmlformats-officedocument.presentationml.tags+xml"/>
  <Override PartName="/ppt/diagrams/quickStyle14.xml" ContentType="application/vnd.openxmlformats-officedocument.drawingml.diagramStyle+xml"/>
  <Override PartName="/ppt/diagrams/drawing15.xml" ContentType="application/vnd.ms-office.drawingml.diagramDrawing+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diagrams/layout2.xml" ContentType="application/vnd.openxmlformats-officedocument.drawingml.diagramLayout+xml"/>
  <Override PartName="/ppt/tags/tag24.xml" ContentType="application/vnd.openxmlformats-officedocument.presentationml.tags+xml"/>
  <Override PartName="/ppt/notesSlides/notesSlide20.xml" ContentType="application/vnd.openxmlformats-officedocument.presentationml.notesSlide+xml"/>
  <Override PartName="/ppt/diagrams/drawing8.xml" ContentType="application/vnd.ms-office.drawingml.diagramDrawing+xml"/>
  <Override PartName="/ppt/notesSlides/notesSlide31.xml" ContentType="application/vnd.openxmlformats-officedocument.presentationml.notesSlide+xml"/>
  <Override PartName="/ppt/tags/tag13.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tags/tag31.xml" ContentType="application/vnd.openxmlformats-officedocument.presentationml.tags+xml"/>
  <Override PartName="/ppt/diagrams/quickStyle8.xml" ContentType="application/vnd.openxmlformats-officedocument.drawingml.diagramStyle+xml"/>
  <Override PartName="/ppt/diagrams/quickStyle10.xml" ContentType="application/vnd.openxmlformats-officedocument.drawingml.diagramStyle+xml"/>
  <Override PartName="/ppt/diagrams/drawing11.xml" ContentType="application/vnd.ms-office.drawingml.diagramDrawing+xml"/>
  <Override PartName="/ppt/diagrams/layout14.xml" ContentType="application/vnd.openxmlformats-officedocument.drawingml.diagramLayout+xml"/>
  <Override PartName="/ppt/diagrams/colors17.xml" ContentType="application/vnd.openxmlformats-officedocument.drawingml.diagramColor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diagrams/colors13.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diagrams/data15.xml" ContentType="application/vnd.openxmlformats-officedocument.drawingml.diagramData+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diagrams/data11.xml" ContentType="application/vnd.openxmlformats-officedocument.drawingml.diagramData+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36.xml" ContentType="application/vnd.openxmlformats-officedocument.presentationml.tags+xml"/>
  <Override PartName="/ppt/diagrams/quickStyle15.xml" ContentType="application/vnd.openxmlformats-officedocument.drawingml.diagramStyle+xml"/>
  <Override PartName="/ppt/diagrams/drawing16.xml" ContentType="application/vnd.ms-office.drawingml.diagramDrawing+xml"/>
  <Override PartName="/ppt/commentAuthors.xml" ContentType="application/vnd.openxmlformats-officedocument.presentationml.commentAuthors+xml"/>
  <Override PartName="/ppt/tags/tag14.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tags/tag25.xml" ContentType="application/vnd.openxmlformats-officedocument.presentationml.tags+xml"/>
  <Override PartName="/ppt/diagrams/data4.xml" ContentType="application/vnd.openxmlformats-officedocument.drawingml.diagramData+xml"/>
  <Override PartName="/ppt/notesSlides/notesSlide21.xml" ContentType="application/vnd.openxmlformats-officedocument.presentationml.notesSlide+xml"/>
  <Override PartName="/ppt/diagrams/drawing9.xml" ContentType="application/vnd.ms-office.drawingml.diagramDrawing+xml"/>
  <Override PartName="/ppt/diagrams/layout15.xml" ContentType="application/vnd.openxmlformats-officedocument.drawingml.diagramLayout+xml"/>
  <Override PartName="/ppt/notesSlides/notesSlide10.xml" ContentType="application/vnd.openxmlformats-officedocument.presentationml.notesSlide+xml"/>
  <Override PartName="/ppt/diagrams/colors6.xml" ContentType="application/vnd.openxmlformats-officedocument.drawingml.diagramColors+xml"/>
  <Override PartName="/ppt/tags/tag32.xml" ContentType="application/vnd.openxmlformats-officedocument.presentationml.tags+xml"/>
  <Override PartName="/ppt/diagrams/quickStyle9.xml" ContentType="application/vnd.openxmlformats-officedocument.drawingml.diagramStyle+xml"/>
  <Override PartName="/ppt/diagrams/quickStyle11.xml" ContentType="application/vnd.openxmlformats-officedocument.drawingml.diagramStyle+xml"/>
  <Override PartName="/ppt/diagrams/drawing12.xml" ContentType="application/vnd.ms-office.drawingml.diagramDrawing+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diagrams/drawing5.xml" ContentType="application/vnd.ms-office.drawingml.diagramDrawing+xml"/>
  <Override PartName="/ppt/diagrams/layout11.xml" ContentType="application/vnd.openxmlformats-officedocument.drawingml.diagramLayout+xml"/>
  <Override PartName="/ppt/diagrams/colors14.xml" ContentType="application/vnd.openxmlformats-officedocument.drawingml.diagramColor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diagrams/data16.xml" ContentType="application/vnd.openxmlformats-officedocument.drawingml.diagramData+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diagrams/colors10.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diagrams/layout8.xml" ContentType="application/vnd.openxmlformats-officedocument.drawingml.diagramLayout+xml"/>
  <Override PartName="/ppt/diagrams/data12.xml" ContentType="application/vnd.openxmlformats-officedocument.drawingml.diagramData+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diagrams/data9.xml" ContentType="application/vnd.openxmlformats-officedocument.drawingml.diagramData+xml"/>
  <Override PartName="/ppt/tags/tag37.xml" ContentType="application/vnd.openxmlformats-officedocument.presentationml.tags+xml"/>
  <Override PartName="/ppt/diagrams/quickStyle16.xml" ContentType="application/vnd.openxmlformats-officedocument.drawingml.diagramStyle+xml"/>
  <Override PartName="/ppt/diagrams/drawing17.xml" ContentType="application/vnd.ms-office.drawingml.diagramDrawing+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tags/tag33.xml" ContentType="application/vnd.openxmlformats-officedocument.presentationml.tags+xml"/>
  <Override PartName="/ppt/diagrams/quickStyle12.xml" ContentType="application/vnd.openxmlformats-officedocument.drawingml.diagramStyle+xml"/>
  <Override PartName="/ppt/diagrams/drawing13.xml" ContentType="application/vnd.ms-office.drawingml.diagramDrawing+xml"/>
  <Override PartName="/ppt/diagrams/layout16.xml" ContentType="application/vnd.openxmlformats-officedocument.drawingml.diagramLayout+xml"/>
  <Override PartName="/ppt/notesSlides/notesSlide6.xml" ContentType="application/vnd.openxmlformats-officedocument.presentationml.notesSlide+xml"/>
  <Override PartName="/ppt/tags/tag22.xml" ContentType="application/vnd.openxmlformats-officedocument.presentationml.tags+xml"/>
  <Override PartName="/ppt/diagrams/drawing6.xml" ContentType="application/vnd.ms-office.drawingml.diagramDrawing+xml"/>
  <Override PartName="/ppt/tags/tag4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diagrams/colors15.xml" ContentType="application/vnd.openxmlformats-officedocument.drawingml.diagramColors+xml"/>
  <Override PartName="/ppt/slides/slide29.xml" ContentType="application/vnd.openxmlformats-officedocument.presentationml.slide+xml"/>
  <Override PartName="/ppt/diagrams/drawing2.xml" ContentType="application/vnd.ms-office.drawingml.diagramDrawing+xml"/>
  <Override PartName="/ppt/diagrams/data17.xml" ContentType="application/vnd.openxmlformats-officedocument.drawingml.diagramData+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diagrams/colors8.xml" ContentType="application/vnd.openxmlformats-officedocument.drawingml.diagramColors+xml"/>
  <Override PartName="/ppt/tags/tag34.xml" ContentType="application/vnd.openxmlformats-officedocument.presentationml.tags+xml"/>
  <Override PartName="/ppt/diagrams/quickStyle13.xml" ContentType="application/vnd.openxmlformats-officedocument.drawingml.diagramStyle+xml"/>
  <Override PartName="/ppt/diagrams/drawing14.xml" ContentType="application/vnd.ms-office.drawingml.diagramDrawing+xml"/>
  <Override PartName="/ppt/tags/tag12.xml" ContentType="application/vnd.openxmlformats-officedocument.presentationml.tags+xml"/>
  <Override PartName="/ppt/tags/tag23.xml" ContentType="application/vnd.openxmlformats-officedocument.presentationml.tags+xml"/>
  <Override PartName="/ppt/diagrams/drawing7.xml" ContentType="application/vnd.ms-office.drawingml.diagramDrawing+xml"/>
  <Override PartName="/ppt/diagrams/layout13.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quickStyle7.xml" ContentType="application/vnd.openxmlformats-officedocument.drawingml.diagramStyle+xml"/>
  <Override PartName="/ppt/slides/slide48.xml" ContentType="application/vnd.openxmlformats-officedocument.presentationml.slide+xml"/>
  <Override PartName="/ppt/notesSlides/notesSlide3.xml" ContentType="application/vnd.openxmlformats-officedocument.presentationml.notesSlide+xml"/>
  <Override PartName="/ppt/diagrams/colors12.xml" ContentType="application/vnd.openxmlformats-officedocument.drawingml.diagramCol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1" r:id="rId1"/>
  </p:sldMasterIdLst>
  <p:notesMasterIdLst>
    <p:notesMasterId r:id="rId50"/>
  </p:notesMasterIdLst>
  <p:handoutMasterIdLst>
    <p:handoutMasterId r:id="rId51"/>
  </p:handoutMasterIdLst>
  <p:sldIdLst>
    <p:sldId id="316" r:id="rId2"/>
    <p:sldId id="317" r:id="rId3"/>
    <p:sldId id="325" r:id="rId4"/>
    <p:sldId id="376" r:id="rId5"/>
    <p:sldId id="536" r:id="rId6"/>
    <p:sldId id="323" r:id="rId7"/>
    <p:sldId id="535" r:id="rId8"/>
    <p:sldId id="537" r:id="rId9"/>
    <p:sldId id="538" r:id="rId10"/>
    <p:sldId id="289" r:id="rId11"/>
    <p:sldId id="540" r:id="rId12"/>
    <p:sldId id="541" r:id="rId13"/>
    <p:sldId id="542" r:id="rId14"/>
    <p:sldId id="388" r:id="rId15"/>
    <p:sldId id="552" r:id="rId16"/>
    <p:sldId id="554" r:id="rId17"/>
    <p:sldId id="555" r:id="rId18"/>
    <p:sldId id="556" r:id="rId19"/>
    <p:sldId id="545" r:id="rId20"/>
    <p:sldId id="543" r:id="rId21"/>
    <p:sldId id="534" r:id="rId22"/>
    <p:sldId id="544" r:id="rId23"/>
    <p:sldId id="363" r:id="rId24"/>
    <p:sldId id="474" r:id="rId25"/>
    <p:sldId id="475" r:id="rId26"/>
    <p:sldId id="476" r:id="rId27"/>
    <p:sldId id="477" r:id="rId28"/>
    <p:sldId id="478" r:id="rId29"/>
    <p:sldId id="546" r:id="rId30"/>
    <p:sldId id="557" r:id="rId31"/>
    <p:sldId id="548" r:id="rId32"/>
    <p:sldId id="558" r:id="rId33"/>
    <p:sldId id="553" r:id="rId34"/>
    <p:sldId id="559" r:id="rId35"/>
    <p:sldId id="560" r:id="rId36"/>
    <p:sldId id="561" r:id="rId37"/>
    <p:sldId id="551" r:id="rId38"/>
    <p:sldId id="562" r:id="rId39"/>
    <p:sldId id="549" r:id="rId40"/>
    <p:sldId id="564" r:id="rId41"/>
    <p:sldId id="563" r:id="rId42"/>
    <p:sldId id="550" r:id="rId43"/>
    <p:sldId id="565" r:id="rId44"/>
    <p:sldId id="566" r:id="rId45"/>
    <p:sldId id="547" r:id="rId46"/>
    <p:sldId id="568" r:id="rId47"/>
    <p:sldId id="569" r:id="rId48"/>
    <p:sldId id="570" r:id="rId49"/>
  </p:sldIdLst>
  <p:sldSz cx="12192000" cy="6858000"/>
  <p:notesSz cx="7010400" cy="9296400"/>
  <p:custDataLst>
    <p:tags r:id="rId5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5A149F44-6C79-4884-B2C5-CD6C932B8C34}">
          <p14:sldIdLst>
            <p14:sldId id="316"/>
            <p14:sldId id="317"/>
            <p14:sldId id="325"/>
            <p14:sldId id="376"/>
            <p14:sldId id="536"/>
            <p14:sldId id="323"/>
            <p14:sldId id="535"/>
            <p14:sldId id="537"/>
            <p14:sldId id="538"/>
            <p14:sldId id="289"/>
            <p14:sldId id="540"/>
            <p14:sldId id="541"/>
            <p14:sldId id="542"/>
            <p14:sldId id="388"/>
            <p14:sldId id="552"/>
            <p14:sldId id="554"/>
            <p14:sldId id="555"/>
            <p14:sldId id="556"/>
            <p14:sldId id="545"/>
            <p14:sldId id="543"/>
            <p14:sldId id="534"/>
            <p14:sldId id="544"/>
            <p14:sldId id="363"/>
            <p14:sldId id="474"/>
            <p14:sldId id="475"/>
            <p14:sldId id="476"/>
            <p14:sldId id="477"/>
            <p14:sldId id="478"/>
            <p14:sldId id="546"/>
            <p14:sldId id="557"/>
            <p14:sldId id="548"/>
            <p14:sldId id="558"/>
            <p14:sldId id="553"/>
            <p14:sldId id="559"/>
            <p14:sldId id="560"/>
            <p14:sldId id="561"/>
            <p14:sldId id="551"/>
            <p14:sldId id="562"/>
            <p14:sldId id="549"/>
            <p14:sldId id="564"/>
            <p14:sldId id="563"/>
            <p14:sldId id="550"/>
            <p14:sldId id="565"/>
            <p14:sldId id="566"/>
            <p14:sldId id="547"/>
            <p14:sldId id="568"/>
            <p14:sldId id="569"/>
            <p14:sldId id="570"/>
          </p14:sldIdLst>
        </p14:section>
      </p14:sectionLst>
    </p:ext>
    <p:ext uri="{EFAFB233-063F-42B5-8137-9DF3F51BA10A}">
      <p15:sldGuideLst xmlns:p15="http://schemas.microsoft.com/office/powerpoint/2012/main" xmlns="">
        <p15:guide id="1" orient="horz" pos="2136" userDrawn="1">
          <p15:clr>
            <a:srgbClr val="A4A3A4"/>
          </p15:clr>
        </p15:guide>
        <p15:guide id="2" pos="5640"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sen, Rachel" initials="RR" lastIdx="25" clrIdx="0"/>
  <p:cmAuthor id="1" name="Cascella, Laura" initials="LMC" lastIdx="4" clrIdx="1"/>
  <p:cmAuthor id="2" name="Metzgar, Marcy" initials="MM" lastIdx="8" clrIdx="2">
    <p:extLst>
      <p:ext uri="{19B8F6BF-5375-455C-9EA6-DF929625EA0E}">
        <p15:presenceInfo xmlns:p15="http://schemas.microsoft.com/office/powerpoint/2012/main" xmlns="" userId="S-1-5-21-602866398-3216007687-691492944-10151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27B8F"/>
    <a:srgbClr val="2496BF"/>
    <a:srgbClr val="3488A6"/>
    <a:srgbClr val="13A4D9"/>
    <a:srgbClr val="417B93"/>
    <a:srgbClr val="3487A5"/>
    <a:srgbClr val="002F6B"/>
    <a:srgbClr val="EAEAEA"/>
    <a:srgbClr val="66FF99"/>
    <a:srgbClr val="D0E5C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1" autoAdjust="0"/>
    <p:restoredTop sz="84679" autoAdjust="0"/>
  </p:normalViewPr>
  <p:slideViewPr>
    <p:cSldViewPr snapToGrid="0" snapToObjects="1">
      <p:cViewPr varScale="1">
        <p:scale>
          <a:sx n="57" d="100"/>
          <a:sy n="57" d="100"/>
        </p:scale>
        <p:origin x="-940" y="-68"/>
      </p:cViewPr>
      <p:guideLst>
        <p:guide orient="horz" pos="2136"/>
        <p:guide pos="56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88" d="100"/>
          <a:sy n="88" d="100"/>
        </p:scale>
        <p:origin x="3696" y="102"/>
      </p:cViewPr>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E78B0F-C07D-49E2-911E-95F1801FE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1DEEE62-FDF7-4465-8DFD-12ECAD17359C}">
      <dgm:prSet custT="1"/>
      <dgm:spPr/>
      <dgm:t>
        <a:bodyPr/>
        <a:lstStyle/>
        <a:p>
          <a:pPr>
            <a:lnSpc>
              <a:spcPct val="100000"/>
            </a:lnSpc>
            <a:spcAft>
              <a:spcPts val="1200"/>
            </a:spcAft>
          </a:pPr>
          <a:endParaRPr lang="en-US" sz="2400" dirty="0">
            <a:solidFill>
              <a:schemeClr val="tx2"/>
            </a:solidFill>
          </a:endParaRPr>
        </a:p>
      </dgm:t>
    </dgm:pt>
    <dgm:pt modelId="{D58AFEB4-CD26-4E45-8212-8BABC2552F32}" type="parTrans" cxnId="{DD6EBC45-6B69-4A31-8700-74A4867CE9AC}">
      <dgm:prSet/>
      <dgm:spPr/>
      <dgm:t>
        <a:bodyPr/>
        <a:lstStyle/>
        <a:p>
          <a:endParaRPr lang="en-US"/>
        </a:p>
      </dgm:t>
    </dgm:pt>
    <dgm:pt modelId="{3DA44AAA-5BFF-4D97-8728-50D3DF578A67}" type="sibTrans" cxnId="{DD6EBC45-6B69-4A31-8700-74A4867CE9AC}">
      <dgm:prSet/>
      <dgm:spPr/>
      <dgm:t>
        <a:bodyPr/>
        <a:lstStyle/>
        <a:p>
          <a:endParaRPr lang="en-US"/>
        </a:p>
      </dgm:t>
    </dgm:pt>
    <dgm:pt modelId="{1332F153-4541-468E-9B7F-4519117AF43D}">
      <dgm:prSet custT="1"/>
      <dgm:spPr/>
      <dgm:t>
        <a:bodyPr/>
        <a:lstStyle/>
        <a:p>
          <a:pPr>
            <a:lnSpc>
              <a:spcPct val="100000"/>
            </a:lnSpc>
            <a:spcAft>
              <a:spcPts val="1200"/>
            </a:spcAft>
          </a:pPr>
          <a:endParaRPr lang="en-US" sz="2400" dirty="0">
            <a:solidFill>
              <a:schemeClr val="tx2"/>
            </a:solidFill>
          </a:endParaRPr>
        </a:p>
      </dgm:t>
    </dgm:pt>
    <dgm:pt modelId="{A6C5C2D6-D533-41AE-B360-6832D11D1007}" type="parTrans" cxnId="{3F07708E-B068-4DBC-AEBE-7CDD6BCBCC90}">
      <dgm:prSet/>
      <dgm:spPr/>
      <dgm:t>
        <a:bodyPr/>
        <a:lstStyle/>
        <a:p>
          <a:endParaRPr lang="en-US"/>
        </a:p>
      </dgm:t>
    </dgm:pt>
    <dgm:pt modelId="{C779541E-FD7B-4D7C-BB5B-83E527A0A182}" type="sibTrans" cxnId="{3F07708E-B068-4DBC-AEBE-7CDD6BCBCC90}">
      <dgm:prSet/>
      <dgm:spPr/>
      <dgm:t>
        <a:bodyPr/>
        <a:lstStyle/>
        <a:p>
          <a:endParaRPr lang="en-US"/>
        </a:p>
      </dgm:t>
    </dgm:pt>
    <dgm:pt modelId="{10AB865B-6AAF-4B8B-A9A6-9ACF3B2438E9}">
      <dgm:prSet phldrT="[Text]" custT="1"/>
      <dgm:spPr/>
      <dgm:t>
        <a:bodyPr/>
        <a:lstStyle/>
        <a:p>
          <a:r>
            <a:rPr lang="en-US" sz="2400" dirty="0" smtClean="0"/>
            <a:t>During today's program, we will discuss: </a:t>
          </a:r>
          <a:endParaRPr lang="en-US" sz="2400" dirty="0"/>
        </a:p>
      </dgm:t>
    </dgm:pt>
    <dgm:pt modelId="{0116BA1D-D6DE-4D2F-8849-DCAA9B00FF6F}" type="sibTrans" cxnId="{A263E406-09DC-49F3-83D2-7B4758993A09}">
      <dgm:prSet/>
      <dgm:spPr/>
      <dgm:t>
        <a:bodyPr/>
        <a:lstStyle/>
        <a:p>
          <a:endParaRPr lang="en-US" sz="2400"/>
        </a:p>
      </dgm:t>
    </dgm:pt>
    <dgm:pt modelId="{A7BE3B71-3187-4E24-8A1B-ECECDB86CE3D}" type="parTrans" cxnId="{A263E406-09DC-49F3-83D2-7B4758993A09}">
      <dgm:prSet/>
      <dgm:spPr/>
      <dgm:t>
        <a:bodyPr/>
        <a:lstStyle/>
        <a:p>
          <a:endParaRPr lang="en-US" sz="2400"/>
        </a:p>
      </dgm:t>
    </dgm:pt>
    <dgm:pt modelId="{A7EF511C-70A3-4E0D-AAC7-FA6AA489B9A8}">
      <dgm:prSet custT="1"/>
      <dgm:spPr/>
      <dgm:t>
        <a:bodyPr/>
        <a:lstStyle/>
        <a:p>
          <a:pPr>
            <a:lnSpc>
              <a:spcPct val="100000"/>
            </a:lnSpc>
            <a:spcAft>
              <a:spcPts val="1200"/>
            </a:spcAft>
          </a:pPr>
          <a:r>
            <a:rPr lang="en-US" sz="2400" dirty="0" smtClean="0">
              <a:solidFill>
                <a:schemeClr val="tx2"/>
              </a:solidFill>
            </a:rPr>
            <a:t>The current malpractice environment</a:t>
          </a:r>
          <a:endParaRPr lang="en-US" sz="2400" dirty="0">
            <a:solidFill>
              <a:schemeClr val="tx2"/>
            </a:solidFill>
          </a:endParaRPr>
        </a:p>
      </dgm:t>
    </dgm:pt>
    <dgm:pt modelId="{D3B75C07-E177-44A1-954C-A675ADA22CDB}" type="parTrans" cxnId="{A821DA7D-7A6F-4F25-9018-A5D2A01ACEF7}">
      <dgm:prSet/>
      <dgm:spPr/>
      <dgm:t>
        <a:bodyPr/>
        <a:lstStyle/>
        <a:p>
          <a:endParaRPr lang="en-US"/>
        </a:p>
      </dgm:t>
    </dgm:pt>
    <dgm:pt modelId="{3C2384BA-C1C2-41EF-8C79-807E915BBA15}" type="sibTrans" cxnId="{A821DA7D-7A6F-4F25-9018-A5D2A01ACEF7}">
      <dgm:prSet/>
      <dgm:spPr/>
      <dgm:t>
        <a:bodyPr/>
        <a:lstStyle/>
        <a:p>
          <a:endParaRPr lang="en-US"/>
        </a:p>
      </dgm:t>
    </dgm:pt>
    <dgm:pt modelId="{30E97957-DC2C-4660-B4D5-3A08D27078D8}">
      <dgm:prSet custT="1"/>
      <dgm:spPr/>
      <dgm:t>
        <a:bodyPr/>
        <a:lstStyle/>
        <a:p>
          <a:pPr>
            <a:lnSpc>
              <a:spcPct val="100000"/>
            </a:lnSpc>
            <a:spcAft>
              <a:spcPts val="1200"/>
            </a:spcAft>
          </a:pPr>
          <a:r>
            <a:rPr lang="en-US" sz="2400" dirty="0" smtClean="0">
              <a:solidFill>
                <a:schemeClr val="tx2"/>
              </a:solidFill>
            </a:rPr>
            <a:t>Common categories of cases </a:t>
          </a:r>
          <a:endParaRPr lang="en-US" sz="2400" dirty="0">
            <a:solidFill>
              <a:schemeClr val="tx2"/>
            </a:solidFill>
          </a:endParaRPr>
        </a:p>
      </dgm:t>
    </dgm:pt>
    <dgm:pt modelId="{A5B17CE5-907C-4A5D-BB19-3273D0B2DA93}" type="parTrans" cxnId="{3CE49937-06B7-4150-A202-CF457B1B7B6A}">
      <dgm:prSet/>
      <dgm:spPr/>
      <dgm:t>
        <a:bodyPr/>
        <a:lstStyle/>
        <a:p>
          <a:endParaRPr lang="en-US"/>
        </a:p>
      </dgm:t>
    </dgm:pt>
    <dgm:pt modelId="{373A227B-F4B8-40EA-8EB8-6C2DF228771A}" type="sibTrans" cxnId="{3CE49937-06B7-4150-A202-CF457B1B7B6A}">
      <dgm:prSet/>
      <dgm:spPr/>
      <dgm:t>
        <a:bodyPr/>
        <a:lstStyle/>
        <a:p>
          <a:endParaRPr lang="en-US"/>
        </a:p>
      </dgm:t>
    </dgm:pt>
    <dgm:pt modelId="{668B4441-8A9D-4F9F-80EF-5F994B4EDB1A}">
      <dgm:prSet custT="1"/>
      <dgm:spPr/>
      <dgm:t>
        <a:bodyPr/>
        <a:lstStyle/>
        <a:p>
          <a:pPr>
            <a:lnSpc>
              <a:spcPct val="100000"/>
            </a:lnSpc>
            <a:spcAft>
              <a:spcPts val="1200"/>
            </a:spcAft>
          </a:pPr>
          <a:r>
            <a:rPr lang="en-US" sz="2400" dirty="0" smtClean="0">
              <a:solidFill>
                <a:schemeClr val="tx2"/>
              </a:solidFill>
            </a:rPr>
            <a:t>"Disaster" claims in each category </a:t>
          </a:r>
          <a:endParaRPr lang="en-US" sz="2400" dirty="0">
            <a:solidFill>
              <a:schemeClr val="tx2"/>
            </a:solidFill>
          </a:endParaRPr>
        </a:p>
      </dgm:t>
    </dgm:pt>
    <dgm:pt modelId="{DDBB0A7F-D021-47BE-BD2C-240CD1EFA3D5}" type="parTrans" cxnId="{5F7311C5-0908-4D4C-88EA-BFD846BC41F4}">
      <dgm:prSet/>
      <dgm:spPr/>
      <dgm:t>
        <a:bodyPr/>
        <a:lstStyle/>
        <a:p>
          <a:endParaRPr lang="en-US"/>
        </a:p>
      </dgm:t>
    </dgm:pt>
    <dgm:pt modelId="{732B1264-A6E1-4E1D-BD43-96253C6EAA09}" type="sibTrans" cxnId="{5F7311C5-0908-4D4C-88EA-BFD846BC41F4}">
      <dgm:prSet/>
      <dgm:spPr/>
      <dgm:t>
        <a:bodyPr/>
        <a:lstStyle/>
        <a:p>
          <a:endParaRPr lang="en-US"/>
        </a:p>
      </dgm:t>
    </dgm:pt>
    <dgm:pt modelId="{F017C026-1C43-4DD7-8C90-C942A33A6053}">
      <dgm:prSet custT="1"/>
      <dgm:spPr/>
      <dgm:t>
        <a:bodyPr/>
        <a:lstStyle/>
        <a:p>
          <a:pPr>
            <a:lnSpc>
              <a:spcPct val="100000"/>
            </a:lnSpc>
            <a:spcAft>
              <a:spcPts val="1200"/>
            </a:spcAft>
          </a:pPr>
          <a:r>
            <a:rPr lang="en-US" sz="2400" dirty="0" smtClean="0">
              <a:solidFill>
                <a:schemeClr val="tx2"/>
              </a:solidFill>
            </a:rPr>
            <a:t>Risk management considerations—preventing "disaster" claims</a:t>
          </a:r>
          <a:endParaRPr lang="en-US" sz="2400" dirty="0">
            <a:solidFill>
              <a:schemeClr val="tx2"/>
            </a:solidFill>
          </a:endParaRPr>
        </a:p>
      </dgm:t>
    </dgm:pt>
    <dgm:pt modelId="{BA59FAF8-6A79-41BC-8095-9A37919AF202}" type="parTrans" cxnId="{713BEEEF-623C-446B-AA98-9F830EFAD1E3}">
      <dgm:prSet/>
      <dgm:spPr/>
      <dgm:t>
        <a:bodyPr/>
        <a:lstStyle/>
        <a:p>
          <a:endParaRPr lang="en-US"/>
        </a:p>
      </dgm:t>
    </dgm:pt>
    <dgm:pt modelId="{E15355B1-C262-446F-A6EA-319EEC63C9B5}" type="sibTrans" cxnId="{713BEEEF-623C-446B-AA98-9F830EFAD1E3}">
      <dgm:prSet/>
      <dgm:spPr/>
      <dgm:t>
        <a:bodyPr/>
        <a:lstStyle/>
        <a:p>
          <a:endParaRPr lang="en-US"/>
        </a:p>
      </dgm:t>
    </dgm:pt>
    <dgm:pt modelId="{003466EC-942B-42D7-8CAE-C49D2F0842CD}">
      <dgm:prSet custT="1"/>
      <dgm:spPr/>
      <dgm:t>
        <a:bodyPr/>
        <a:lstStyle/>
        <a:p>
          <a:pPr>
            <a:lnSpc>
              <a:spcPct val="100000"/>
            </a:lnSpc>
            <a:spcAft>
              <a:spcPts val="1200"/>
            </a:spcAft>
          </a:pPr>
          <a:endParaRPr lang="en-US" sz="2400" dirty="0">
            <a:solidFill>
              <a:schemeClr val="tx2"/>
            </a:solidFill>
          </a:endParaRPr>
        </a:p>
      </dgm:t>
    </dgm:pt>
    <dgm:pt modelId="{55644824-571A-4144-93C9-694003076362}" type="parTrans" cxnId="{1B39D47B-D97E-4B5E-AD5F-33AF8FD1B3CA}">
      <dgm:prSet/>
      <dgm:spPr/>
      <dgm:t>
        <a:bodyPr/>
        <a:lstStyle/>
        <a:p>
          <a:endParaRPr lang="en-US"/>
        </a:p>
      </dgm:t>
    </dgm:pt>
    <dgm:pt modelId="{55A46A19-2ADC-41C4-A41B-DF672A7456F8}" type="sibTrans" cxnId="{1B39D47B-D97E-4B5E-AD5F-33AF8FD1B3CA}">
      <dgm:prSet/>
      <dgm:spPr/>
      <dgm:t>
        <a:bodyPr/>
        <a:lstStyle/>
        <a:p>
          <a:endParaRPr lang="en-US"/>
        </a:p>
      </dgm:t>
    </dgm:pt>
    <dgm:pt modelId="{1B52C86C-322C-4351-8EC7-EA7FE91E18D0}">
      <dgm:prSet custT="1"/>
      <dgm:spPr/>
      <dgm:t>
        <a:bodyPr/>
        <a:lstStyle/>
        <a:p>
          <a:pPr>
            <a:lnSpc>
              <a:spcPct val="100000"/>
            </a:lnSpc>
            <a:spcAft>
              <a:spcPts val="1200"/>
            </a:spcAft>
          </a:pPr>
          <a:r>
            <a:rPr lang="en-US" sz="2000" dirty="0" smtClean="0">
              <a:solidFill>
                <a:schemeClr val="tx2"/>
              </a:solidFill>
            </a:rPr>
            <a:t>Informed Consent</a:t>
          </a:r>
          <a:endParaRPr lang="en-US" sz="2000" dirty="0">
            <a:solidFill>
              <a:schemeClr val="tx2"/>
            </a:solidFill>
          </a:endParaRPr>
        </a:p>
      </dgm:t>
    </dgm:pt>
    <dgm:pt modelId="{C6FADA05-8F27-4DDC-9CAA-12B8DA8B8F9F}" type="parTrans" cxnId="{B061FD76-CBA1-4EF5-A2BB-0B045C60EBD2}">
      <dgm:prSet/>
      <dgm:spPr/>
      <dgm:t>
        <a:bodyPr/>
        <a:lstStyle/>
        <a:p>
          <a:endParaRPr lang="en-US"/>
        </a:p>
      </dgm:t>
    </dgm:pt>
    <dgm:pt modelId="{F63E185F-2AC3-457C-996A-311AC25D3174}" type="sibTrans" cxnId="{B061FD76-CBA1-4EF5-A2BB-0B045C60EBD2}">
      <dgm:prSet/>
      <dgm:spPr/>
      <dgm:t>
        <a:bodyPr/>
        <a:lstStyle/>
        <a:p>
          <a:endParaRPr lang="en-US"/>
        </a:p>
      </dgm:t>
    </dgm:pt>
    <dgm:pt modelId="{F92A333C-92C8-45D3-87A4-66DDCACC8DBA}">
      <dgm:prSet custT="1"/>
      <dgm:spPr/>
      <dgm:t>
        <a:bodyPr/>
        <a:lstStyle/>
        <a:p>
          <a:pPr>
            <a:lnSpc>
              <a:spcPct val="100000"/>
            </a:lnSpc>
            <a:spcAft>
              <a:spcPts val="1200"/>
            </a:spcAft>
          </a:pPr>
          <a:r>
            <a:rPr lang="en-US" sz="2000" dirty="0" smtClean="0">
              <a:solidFill>
                <a:schemeClr val="tx2"/>
              </a:solidFill>
            </a:rPr>
            <a:t>Preoperative Errors</a:t>
          </a:r>
          <a:endParaRPr lang="en-US" sz="2000" dirty="0">
            <a:solidFill>
              <a:schemeClr val="tx2"/>
            </a:solidFill>
          </a:endParaRPr>
        </a:p>
      </dgm:t>
    </dgm:pt>
    <dgm:pt modelId="{5BDC3330-8C68-49EF-8F18-A1A914B38D19}" type="parTrans" cxnId="{EC2D7C1E-8D3A-43ED-A3F0-18238E4CAF16}">
      <dgm:prSet/>
      <dgm:spPr/>
      <dgm:t>
        <a:bodyPr/>
        <a:lstStyle/>
        <a:p>
          <a:endParaRPr lang="en-US"/>
        </a:p>
      </dgm:t>
    </dgm:pt>
    <dgm:pt modelId="{F90FFF4A-72E9-473E-8133-A2F55610DFD7}" type="sibTrans" cxnId="{EC2D7C1E-8D3A-43ED-A3F0-18238E4CAF16}">
      <dgm:prSet/>
      <dgm:spPr/>
      <dgm:t>
        <a:bodyPr/>
        <a:lstStyle/>
        <a:p>
          <a:endParaRPr lang="en-US"/>
        </a:p>
      </dgm:t>
    </dgm:pt>
    <dgm:pt modelId="{4CEB409A-D589-443F-83CA-CC3BD2B90615}">
      <dgm:prSet custT="1"/>
      <dgm:spPr/>
      <dgm:t>
        <a:bodyPr/>
        <a:lstStyle/>
        <a:p>
          <a:pPr>
            <a:lnSpc>
              <a:spcPct val="100000"/>
            </a:lnSpc>
            <a:spcAft>
              <a:spcPts val="1200"/>
            </a:spcAft>
          </a:pPr>
          <a:r>
            <a:rPr lang="en-US" sz="2000" smtClean="0">
              <a:solidFill>
                <a:schemeClr val="tx2"/>
              </a:solidFill>
            </a:rPr>
            <a:t>Intraoperative Errors</a:t>
          </a:r>
          <a:endParaRPr lang="en-US" sz="2000" dirty="0">
            <a:solidFill>
              <a:schemeClr val="tx2"/>
            </a:solidFill>
          </a:endParaRPr>
        </a:p>
      </dgm:t>
    </dgm:pt>
    <dgm:pt modelId="{F0894628-505F-4DF0-8A53-A144B28020D7}" type="parTrans" cxnId="{BCB44EBE-9AE7-46FE-9C85-3AE6C34D1EC7}">
      <dgm:prSet/>
      <dgm:spPr/>
      <dgm:t>
        <a:bodyPr/>
        <a:lstStyle/>
        <a:p>
          <a:endParaRPr lang="en-US"/>
        </a:p>
      </dgm:t>
    </dgm:pt>
    <dgm:pt modelId="{3F8703AA-2FE3-446D-9F27-98348E6F73AC}" type="sibTrans" cxnId="{BCB44EBE-9AE7-46FE-9C85-3AE6C34D1EC7}">
      <dgm:prSet/>
      <dgm:spPr/>
      <dgm:t>
        <a:bodyPr/>
        <a:lstStyle/>
        <a:p>
          <a:endParaRPr lang="en-US"/>
        </a:p>
      </dgm:t>
    </dgm:pt>
    <dgm:pt modelId="{EC303688-A787-4741-8E76-F50918535142}">
      <dgm:prSet custT="1"/>
      <dgm:spPr/>
      <dgm:t>
        <a:bodyPr/>
        <a:lstStyle/>
        <a:p>
          <a:pPr>
            <a:lnSpc>
              <a:spcPct val="100000"/>
            </a:lnSpc>
            <a:spcAft>
              <a:spcPts val="1200"/>
            </a:spcAft>
          </a:pPr>
          <a:r>
            <a:rPr lang="en-US" sz="2000" smtClean="0">
              <a:solidFill>
                <a:schemeClr val="tx2"/>
              </a:solidFill>
            </a:rPr>
            <a:t>Postoperative Errors</a:t>
          </a:r>
          <a:endParaRPr lang="en-US" sz="2000" dirty="0">
            <a:solidFill>
              <a:schemeClr val="tx2"/>
            </a:solidFill>
          </a:endParaRPr>
        </a:p>
      </dgm:t>
    </dgm:pt>
    <dgm:pt modelId="{101DD631-5923-4B4E-90B4-CC9979ACE137}" type="parTrans" cxnId="{EE5209A2-BB49-451B-AD6B-4555F7AB2B2C}">
      <dgm:prSet/>
      <dgm:spPr/>
      <dgm:t>
        <a:bodyPr/>
        <a:lstStyle/>
        <a:p>
          <a:endParaRPr lang="en-US"/>
        </a:p>
      </dgm:t>
    </dgm:pt>
    <dgm:pt modelId="{B5C86767-1035-4324-8894-58A4FF1A626E}" type="sibTrans" cxnId="{EE5209A2-BB49-451B-AD6B-4555F7AB2B2C}">
      <dgm:prSet/>
      <dgm:spPr/>
      <dgm:t>
        <a:bodyPr/>
        <a:lstStyle/>
        <a:p>
          <a:endParaRPr lang="en-US"/>
        </a:p>
      </dgm:t>
    </dgm:pt>
    <dgm:pt modelId="{B1705B4E-3B32-4854-BED6-DD034CCD61A3}" type="pres">
      <dgm:prSet presAssocID="{5EE78B0F-C07D-49E2-911E-95F1801FE48A}" presName="linear" presStyleCnt="0">
        <dgm:presLayoutVars>
          <dgm:animLvl val="lvl"/>
          <dgm:resizeHandles val="exact"/>
        </dgm:presLayoutVars>
      </dgm:prSet>
      <dgm:spPr/>
      <dgm:t>
        <a:bodyPr/>
        <a:lstStyle/>
        <a:p>
          <a:endParaRPr lang="en-US"/>
        </a:p>
      </dgm:t>
    </dgm:pt>
    <dgm:pt modelId="{C0672512-A2E2-43CB-B96C-CF4C96891164}" type="pres">
      <dgm:prSet presAssocID="{10AB865B-6AAF-4B8B-A9A6-9ACF3B2438E9}" presName="parentText" presStyleLbl="node1" presStyleIdx="0" presStyleCnt="1" custScaleY="260869" custLinFactNeighborY="-3483">
        <dgm:presLayoutVars>
          <dgm:chMax val="0"/>
          <dgm:bulletEnabled val="1"/>
        </dgm:presLayoutVars>
      </dgm:prSet>
      <dgm:spPr/>
      <dgm:t>
        <a:bodyPr/>
        <a:lstStyle/>
        <a:p>
          <a:endParaRPr lang="en-US"/>
        </a:p>
      </dgm:t>
    </dgm:pt>
    <dgm:pt modelId="{BC10CFDC-D045-4AC3-A2C3-3A5C7F5B3250}" type="pres">
      <dgm:prSet presAssocID="{10AB865B-6AAF-4B8B-A9A6-9ACF3B2438E9}" presName="childText" presStyleLbl="revTx" presStyleIdx="0" presStyleCnt="1" custScaleX="100000" custScaleY="162920" custLinFactY="-15824" custLinFactNeighborY="-100000">
        <dgm:presLayoutVars>
          <dgm:bulletEnabled val="1"/>
        </dgm:presLayoutVars>
      </dgm:prSet>
      <dgm:spPr/>
      <dgm:t>
        <a:bodyPr/>
        <a:lstStyle/>
        <a:p>
          <a:endParaRPr lang="en-US"/>
        </a:p>
      </dgm:t>
    </dgm:pt>
  </dgm:ptLst>
  <dgm:cxnLst>
    <dgm:cxn modelId="{4ACBA07B-7F08-4F4A-ABDF-217389B8B01F}" type="presOf" srcId="{668B4441-8A9D-4F9F-80EF-5F994B4EDB1A}" destId="{BC10CFDC-D045-4AC3-A2C3-3A5C7F5B3250}" srcOrd="0" destOrd="8" presId="urn:microsoft.com/office/officeart/2005/8/layout/vList2"/>
    <dgm:cxn modelId="{EE5209A2-BB49-451B-AD6B-4555F7AB2B2C}" srcId="{30E97957-DC2C-4660-B4D5-3A08D27078D8}" destId="{EC303688-A787-4741-8E76-F50918535142}" srcOrd="3" destOrd="0" parTransId="{101DD631-5923-4B4E-90B4-CC9979ACE137}" sibTransId="{B5C86767-1035-4324-8894-58A4FF1A626E}"/>
    <dgm:cxn modelId="{BCB44EBE-9AE7-46FE-9C85-3AE6C34D1EC7}" srcId="{30E97957-DC2C-4660-B4D5-3A08D27078D8}" destId="{4CEB409A-D589-443F-83CA-CC3BD2B90615}" srcOrd="2" destOrd="0" parTransId="{F0894628-505F-4DF0-8A53-A144B28020D7}" sibTransId="{3F8703AA-2FE3-446D-9F27-98348E6F73AC}"/>
    <dgm:cxn modelId="{DD6EBC45-6B69-4A31-8700-74A4867CE9AC}" srcId="{10AB865B-6AAF-4B8B-A9A6-9ACF3B2438E9}" destId="{F1DEEE62-FDF7-4465-8DFD-12ECAD17359C}" srcOrd="0" destOrd="0" parTransId="{D58AFEB4-CD26-4E45-8212-8BABC2552F32}" sibTransId="{3DA44AAA-5BFF-4D97-8728-50D3DF578A67}"/>
    <dgm:cxn modelId="{A15E9E3B-CAA6-4C3D-B4AF-DB5ABF2D4CB8}" type="presOf" srcId="{30E97957-DC2C-4660-B4D5-3A08D27078D8}" destId="{BC10CFDC-D045-4AC3-A2C3-3A5C7F5B3250}" srcOrd="0" destOrd="3" presId="urn:microsoft.com/office/officeart/2005/8/layout/vList2"/>
    <dgm:cxn modelId="{CE10E402-0BFB-4691-9801-AEF4845BBA39}" type="presOf" srcId="{F92A333C-92C8-45D3-87A4-66DDCACC8DBA}" destId="{BC10CFDC-D045-4AC3-A2C3-3A5C7F5B3250}" srcOrd="0" destOrd="5" presId="urn:microsoft.com/office/officeart/2005/8/layout/vList2"/>
    <dgm:cxn modelId="{ED4CFAB1-09CF-43C3-B349-33D8C3C89AE6}" type="presOf" srcId="{10AB865B-6AAF-4B8B-A9A6-9ACF3B2438E9}" destId="{C0672512-A2E2-43CB-B96C-CF4C96891164}" srcOrd="0" destOrd="0" presId="urn:microsoft.com/office/officeart/2005/8/layout/vList2"/>
    <dgm:cxn modelId="{71018181-F6BA-44F6-BB62-7E0C06C73B4B}" type="presOf" srcId="{F1DEEE62-FDF7-4465-8DFD-12ECAD17359C}" destId="{BC10CFDC-D045-4AC3-A2C3-3A5C7F5B3250}" srcOrd="0" destOrd="0" presId="urn:microsoft.com/office/officeart/2005/8/layout/vList2"/>
    <dgm:cxn modelId="{3CE49937-06B7-4150-A202-CF457B1B7B6A}" srcId="{10AB865B-6AAF-4B8B-A9A6-9ACF3B2438E9}" destId="{30E97957-DC2C-4660-B4D5-3A08D27078D8}" srcOrd="3" destOrd="0" parTransId="{A5B17CE5-907C-4A5D-BB19-3273D0B2DA93}" sibTransId="{373A227B-F4B8-40EA-8EB8-6C2DF228771A}"/>
    <dgm:cxn modelId="{1B39D47B-D97E-4B5E-AD5F-33AF8FD1B3CA}" srcId="{10AB865B-6AAF-4B8B-A9A6-9ACF3B2438E9}" destId="{003466EC-942B-42D7-8CAE-C49D2F0842CD}" srcOrd="6" destOrd="0" parTransId="{55644824-571A-4144-93C9-694003076362}" sibTransId="{55A46A19-2ADC-41C4-A41B-DF672A7456F8}"/>
    <dgm:cxn modelId="{A821DA7D-7A6F-4F25-9018-A5D2A01ACEF7}" srcId="{10AB865B-6AAF-4B8B-A9A6-9ACF3B2438E9}" destId="{A7EF511C-70A3-4E0D-AAC7-FA6AA489B9A8}" srcOrd="2" destOrd="0" parTransId="{D3B75C07-E177-44A1-954C-A675ADA22CDB}" sibTransId="{3C2384BA-C1C2-41EF-8C79-807E915BBA15}"/>
    <dgm:cxn modelId="{113CD77B-8E34-4E49-A341-2626AA208319}" type="presOf" srcId="{003466EC-942B-42D7-8CAE-C49D2F0842CD}" destId="{BC10CFDC-D045-4AC3-A2C3-3A5C7F5B3250}" srcOrd="0" destOrd="10" presId="urn:microsoft.com/office/officeart/2005/8/layout/vList2"/>
    <dgm:cxn modelId="{3F07708E-B068-4DBC-AEBE-7CDD6BCBCC90}" srcId="{10AB865B-6AAF-4B8B-A9A6-9ACF3B2438E9}" destId="{1332F153-4541-468E-9B7F-4519117AF43D}" srcOrd="1" destOrd="0" parTransId="{A6C5C2D6-D533-41AE-B360-6832D11D1007}" sibTransId="{C779541E-FD7B-4D7C-BB5B-83E527A0A182}"/>
    <dgm:cxn modelId="{A263E406-09DC-49F3-83D2-7B4758993A09}" srcId="{5EE78B0F-C07D-49E2-911E-95F1801FE48A}" destId="{10AB865B-6AAF-4B8B-A9A6-9ACF3B2438E9}" srcOrd="0" destOrd="0" parTransId="{A7BE3B71-3187-4E24-8A1B-ECECDB86CE3D}" sibTransId="{0116BA1D-D6DE-4D2F-8849-DCAA9B00FF6F}"/>
    <dgm:cxn modelId="{87E4BB03-D0E5-4FA5-AB29-CCCDA9974EBB}" type="presOf" srcId="{F017C026-1C43-4DD7-8C90-C942A33A6053}" destId="{BC10CFDC-D045-4AC3-A2C3-3A5C7F5B3250}" srcOrd="0" destOrd="9" presId="urn:microsoft.com/office/officeart/2005/8/layout/vList2"/>
    <dgm:cxn modelId="{0A5D9A31-6A26-451E-98E0-5B24ED8F8A58}" type="presOf" srcId="{EC303688-A787-4741-8E76-F50918535142}" destId="{BC10CFDC-D045-4AC3-A2C3-3A5C7F5B3250}" srcOrd="0" destOrd="7" presId="urn:microsoft.com/office/officeart/2005/8/layout/vList2"/>
    <dgm:cxn modelId="{5F7311C5-0908-4D4C-88EA-BFD846BC41F4}" srcId="{10AB865B-6AAF-4B8B-A9A6-9ACF3B2438E9}" destId="{668B4441-8A9D-4F9F-80EF-5F994B4EDB1A}" srcOrd="4" destOrd="0" parTransId="{DDBB0A7F-D021-47BE-BD2C-240CD1EFA3D5}" sibTransId="{732B1264-A6E1-4E1D-BD43-96253C6EAA09}"/>
    <dgm:cxn modelId="{2B9E39BA-E8F8-4652-9A94-A3EB5668AEC2}" type="presOf" srcId="{4CEB409A-D589-443F-83CA-CC3BD2B90615}" destId="{BC10CFDC-D045-4AC3-A2C3-3A5C7F5B3250}" srcOrd="0" destOrd="6" presId="urn:microsoft.com/office/officeart/2005/8/layout/vList2"/>
    <dgm:cxn modelId="{FAA55125-D260-440A-8327-34B2A9CDB44C}" type="presOf" srcId="{5EE78B0F-C07D-49E2-911E-95F1801FE48A}" destId="{B1705B4E-3B32-4854-BED6-DD034CCD61A3}" srcOrd="0" destOrd="0" presId="urn:microsoft.com/office/officeart/2005/8/layout/vList2"/>
    <dgm:cxn modelId="{1A6B8625-4CC5-4371-9C7C-4011E311223C}" type="presOf" srcId="{A7EF511C-70A3-4E0D-AAC7-FA6AA489B9A8}" destId="{BC10CFDC-D045-4AC3-A2C3-3A5C7F5B3250}" srcOrd="0" destOrd="2" presId="urn:microsoft.com/office/officeart/2005/8/layout/vList2"/>
    <dgm:cxn modelId="{437C3933-854B-496D-A676-2297F84530AC}" type="presOf" srcId="{1332F153-4541-468E-9B7F-4519117AF43D}" destId="{BC10CFDC-D045-4AC3-A2C3-3A5C7F5B3250}" srcOrd="0" destOrd="1" presId="urn:microsoft.com/office/officeart/2005/8/layout/vList2"/>
    <dgm:cxn modelId="{EC2D7C1E-8D3A-43ED-A3F0-18238E4CAF16}" srcId="{30E97957-DC2C-4660-B4D5-3A08D27078D8}" destId="{F92A333C-92C8-45D3-87A4-66DDCACC8DBA}" srcOrd="1" destOrd="0" parTransId="{5BDC3330-8C68-49EF-8F18-A1A914B38D19}" sibTransId="{F90FFF4A-72E9-473E-8133-A2F55610DFD7}"/>
    <dgm:cxn modelId="{12FC07E0-0569-46DC-BC9D-E0C803855881}" type="presOf" srcId="{1B52C86C-322C-4351-8EC7-EA7FE91E18D0}" destId="{BC10CFDC-D045-4AC3-A2C3-3A5C7F5B3250}" srcOrd="0" destOrd="4" presId="urn:microsoft.com/office/officeart/2005/8/layout/vList2"/>
    <dgm:cxn modelId="{B061FD76-CBA1-4EF5-A2BB-0B045C60EBD2}" srcId="{30E97957-DC2C-4660-B4D5-3A08D27078D8}" destId="{1B52C86C-322C-4351-8EC7-EA7FE91E18D0}" srcOrd="0" destOrd="0" parTransId="{C6FADA05-8F27-4DDC-9CAA-12B8DA8B8F9F}" sibTransId="{F63E185F-2AC3-457C-996A-311AC25D3174}"/>
    <dgm:cxn modelId="{713BEEEF-623C-446B-AA98-9F830EFAD1E3}" srcId="{10AB865B-6AAF-4B8B-A9A6-9ACF3B2438E9}" destId="{F017C026-1C43-4DD7-8C90-C942A33A6053}" srcOrd="5" destOrd="0" parTransId="{BA59FAF8-6A79-41BC-8095-9A37919AF202}" sibTransId="{E15355B1-C262-446F-A6EA-319EEC63C9B5}"/>
    <dgm:cxn modelId="{AF8626CE-AA13-4DDB-AB30-F6CC6E402F7B}" type="presParOf" srcId="{B1705B4E-3B32-4854-BED6-DD034CCD61A3}" destId="{C0672512-A2E2-43CB-B96C-CF4C96891164}" srcOrd="0" destOrd="0" presId="urn:microsoft.com/office/officeart/2005/8/layout/vList2"/>
    <dgm:cxn modelId="{B3B3F32B-280C-46D1-B950-D3EBAB0BBF33}" type="presParOf" srcId="{B1705B4E-3B32-4854-BED6-DD034CCD61A3}" destId="{BC10CFDC-D045-4AC3-A2C3-3A5C7F5B3250}"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r>
            <a:rPr lang="en-US" sz="2200" b="1" dirty="0" err="1" smtClean="0">
              <a:solidFill>
                <a:schemeClr val="tx2"/>
              </a:solidFill>
              <a:latin typeface="Arial" panose="020B0604020202020204" pitchFamily="34" charset="0"/>
              <a:ea typeface="Tahoma" panose="020B0604030504040204" pitchFamily="34" charset="0"/>
              <a:cs typeface="Arial" panose="020B0604020202020204" pitchFamily="34" charset="0"/>
            </a:rPr>
            <a:t>Intraop</a:t>
          </a:r>
          <a:endPar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Cours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18 year-old patient, J, with history of nonverbal cerebral palsy and seizure disorder brought to insured, K, for dental treatment under anesthesia. </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J underwent treatment with Dr. K and a team of two residents at a local hospital. </a:t>
          </a:r>
        </a:p>
        <a:p>
          <a:pPr algn="just"/>
          <a:r>
            <a:rPr lang="en-US" sz="1800" dirty="0" smtClean="0">
              <a:solidFill>
                <a:schemeClr val="tx2"/>
              </a:solidFill>
              <a:latin typeface="+mj-lt"/>
              <a:ea typeface="Tahoma" panose="020B0604030504040204" pitchFamily="34" charset="0"/>
              <a:cs typeface="Arial" panose="020B0604020202020204" pitchFamily="34" charset="0"/>
            </a:rPr>
            <a:t>J received an IM injection of Ketamine 200 mg. He was then nasally intubated with a size </a:t>
          </a:r>
          <a:r>
            <a:rPr lang="en-US" sz="1800" dirty="0" smtClean="0">
              <a:solidFill>
                <a:schemeClr val="tx2"/>
              </a:solidFill>
              <a:latin typeface="+mj-lt"/>
            </a:rPr>
            <a:t>5.5 tube in his R nostril; the tube was </a:t>
          </a:r>
          <a:r>
            <a:rPr lang="en-US" sz="1800" dirty="0" err="1" smtClean="0">
              <a:solidFill>
                <a:schemeClr val="tx2"/>
              </a:solidFill>
              <a:latin typeface="+mj-lt"/>
            </a:rPr>
            <a:t>uncuffed</a:t>
          </a:r>
          <a:r>
            <a:rPr lang="en-US" sz="1800" dirty="0" smtClean="0">
              <a:solidFill>
                <a:schemeClr val="tx2"/>
              </a:solidFill>
              <a:latin typeface="+mj-lt"/>
            </a:rPr>
            <a:t>.</a:t>
          </a:r>
        </a:p>
        <a:p>
          <a:pPr algn="just"/>
          <a:r>
            <a:rPr lang="en-US" sz="1800" dirty="0" smtClean="0">
              <a:solidFill>
                <a:schemeClr val="tx2"/>
              </a:solidFill>
              <a:latin typeface="+mj-lt"/>
            </a:rPr>
            <a:t>The patient was administered the following: </a:t>
          </a:r>
        </a:p>
        <a:p>
          <a:pPr algn="just"/>
          <a:r>
            <a:rPr lang="en-US" sz="1800" dirty="0" smtClean="0">
              <a:solidFill>
                <a:schemeClr val="tx2"/>
              </a:solidFill>
              <a:latin typeface="+mj-lt"/>
            </a:rPr>
            <a:t>Ketamine 200 mg, Midazolam 5 mg; </a:t>
          </a:r>
          <a:r>
            <a:rPr lang="en-US" sz="1800" dirty="0" err="1" smtClean="0">
              <a:solidFill>
                <a:schemeClr val="tx2"/>
              </a:solidFill>
              <a:latin typeface="+mj-lt"/>
            </a:rPr>
            <a:t>propofol</a:t>
          </a:r>
          <a:r>
            <a:rPr lang="en-US" sz="1800" dirty="0" smtClean="0">
              <a:solidFill>
                <a:schemeClr val="tx2"/>
              </a:solidFill>
              <a:latin typeface="+mj-lt"/>
            </a:rPr>
            <a:t> 3000 mg on infusion pump; </a:t>
          </a:r>
          <a:r>
            <a:rPr lang="en-US" sz="1800" dirty="0" err="1" smtClean="0">
              <a:solidFill>
                <a:schemeClr val="tx2"/>
              </a:solidFill>
              <a:latin typeface="+mj-lt"/>
            </a:rPr>
            <a:t>dexamedomidine</a:t>
          </a:r>
          <a:r>
            <a:rPr lang="en-US" sz="1800" dirty="0" smtClean="0">
              <a:solidFill>
                <a:schemeClr val="tx2"/>
              </a:solidFill>
              <a:latin typeface="+mj-lt"/>
            </a:rPr>
            <a:t> 8 mcg, remifentanil 280 mcg</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team then performed 18 composites and 2 extractions.</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uring procedure, J's pulse ox, BP, heart rates, and end tidal Co2 were monitored constantly.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Hours into the procedure, Resident A noted there appeared to be a desaturation.</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K was not in the room, and Resident A went to get him.</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K scoped the patient, and saw nasal tube was slightly out of trachea. He re-inserted it promptly without issue.</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8"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8" custScaleX="107904" custScaleY="34122" custLinFactNeighborY="-2024"/>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8" custScaleX="82140" custScaleY="75117" custLinFactNeighborY="3036"/>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8" custScaleX="107265" custScaleY="151926"/>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Y="386360" custLinFactNeighborX="131" custLinFactNeighborY="400000"/>
      <dgm:spPr/>
    </dgm:pt>
    <dgm:pt modelId="{92D138F1-8B56-4159-B906-19F28E9DE209}" type="pres">
      <dgm:prSet presAssocID="{852EC5D7-2988-497B-8DFC-D93EE5DE1299}" presName="vertSpace2b" presStyleCnt="0"/>
      <dgm:spPr/>
    </dgm:pt>
    <dgm:pt modelId="{609B4E52-5D9D-43A0-B416-498D003FB475}" type="pres">
      <dgm:prSet presAssocID="{06F5DDDE-305A-4955-A0AB-D2D38EE3B7A3}" presName="thickLine" presStyleLbl="alignNode1" presStyleIdx="2" presStyleCnt="4" custLinFactNeighborY="39425"/>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8" custScaleX="82140" custScaleY="44257" custLinFactNeighborY="29241"/>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5" presStyleCnt="8" custScaleX="103390" custScaleY="53926" custLinFactNeighborX="-644" custLinFactNeighborY="25304"/>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Y="1138203" custLinFactNeighborX="1525" custLinFactNeighborY="1200000"/>
      <dgm:spPr/>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3" presStyleCnt="4" custLinFactNeighborY="88884"/>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6" presStyleCnt="8"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7" presStyleCnt="8"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Y="19972" custLinFactNeighborX="591" custLinFactNeighborY="100000"/>
      <dgm:spPr/>
    </dgm:pt>
    <dgm:pt modelId="{BC54831F-D0F7-4893-942C-3146BA8B55B9}" type="pres">
      <dgm:prSet presAssocID="{8D948412-9783-4022-82B2-587E101905ED}" presName="vertSpace2b" presStyleCnt="0"/>
      <dgm:spPr/>
    </dgm:pt>
  </dgm:ptLst>
  <dgm:cxnLst>
    <dgm:cxn modelId="{4AA94CD7-1C8F-4161-A387-3D5EBE3A43E6}" srcId="{06F5DDDE-305A-4955-A0AB-D2D38EE3B7A3}" destId="{DEA83930-9E9C-4AE5-A15C-D0032CFE6786}" srcOrd="0" destOrd="0" parTransId="{C35B0316-5782-43A5-A4DC-C346CEBB4ECA}" sibTransId="{E779925D-5338-45F1-B180-0CBBD157D849}"/>
    <dgm:cxn modelId="{04DD017A-B020-40AC-9B2A-6E682DD56A6B}" type="presOf" srcId="{FEA87826-C15B-43C1-909B-511BC9B926D0}" destId="{6AA46DBA-49E0-44B0-AE30-BA17A235D9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401B2DB-47D5-413A-96A8-29E99941E1F9}" srcId="{FEA87826-C15B-43C1-909B-511BC9B926D0}" destId="{B86EE3D4-4775-4A9F-833F-765F6096EC9A}" srcOrd="3" destOrd="0" parTransId="{C737A28C-CEE8-449B-816E-C8BDFC6B3358}" sibTransId="{DD12A532-FC1C-4E79-9FC8-5C51B1E2AD09}"/>
    <dgm:cxn modelId="{9F615978-CC8F-4442-8F14-33E0005F7986}" srcId="{FEA87826-C15B-43C1-909B-511BC9B926D0}" destId="{06F5DDDE-305A-4955-A0AB-D2D38EE3B7A3}" srcOrd="2" destOrd="0" parTransId="{266C048C-C077-4D3B-9B64-666DC5EAFD61}" sibTransId="{A1C3020F-1823-4149-AAB3-B53E784D2199}"/>
    <dgm:cxn modelId="{113E6259-76BA-4CE5-88A9-A4E31B62E9E1}" type="presOf" srcId="{852EC5D7-2988-497B-8DFC-D93EE5DE1299}" destId="{4C4E2648-F763-4831-9507-366D9F98CAB8}"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454A42C6-D577-407A-B676-68D9123F7835}" type="presOf" srcId="{8B11413A-A39D-48C0-984F-ECABA70A5067}" destId="{0FE7586A-E0FC-4D42-8C55-A31D2EC2E4D6}"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9C0DF200-96F9-4D06-878F-261C7BE5780B}" srcId="{9913E13F-F5D1-4AB9-9C3E-6922DA30100F}" destId="{AFB19399-1F4C-4153-8F69-D7E391AF8EED}" srcOrd="0" destOrd="0" parTransId="{B74B925C-5EA5-4DBC-802C-4CCC328AE0A3}" sibTransId="{54DC3CCD-AC43-47B6-BF73-ADDD32497CBF}"/>
    <dgm:cxn modelId="{5B03FC76-E2D3-4781-95E4-7E4397118154}" type="presOf" srcId="{DEA83930-9E9C-4AE5-A15C-D0032CFE6786}" destId="{3395C0C5-F2A4-4D46-BF37-D05E3BBB4DA5}"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Records</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End of </a:t>
          </a:r>
          <a:r>
            <a:rPr lang="en-US" sz="2200" b="1" dirty="0" err="1" smtClean="0">
              <a:solidFill>
                <a:schemeClr val="tx2"/>
              </a:solidFill>
              <a:latin typeface="Arial" panose="020B0604020202020204" pitchFamily="34" charset="0"/>
              <a:ea typeface="Tahoma" panose="020B0604030504040204" pitchFamily="34" charset="0"/>
              <a:cs typeface="Arial" panose="020B0604020202020204" pitchFamily="34" charset="0"/>
            </a:rPr>
            <a:t>Tx</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PACU</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anesthesia record was not charted contemporaneously with treatment.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K's reintubation attempt, including how long it took, was not charted.</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EKG machine was turned off at 5:05 pm.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Residents allowed J's father to come into the surgical suite and cut J's hair and nails.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nesthesia was then discontinued at 5:50 pm. Upon </a:t>
          </a:r>
          <a:r>
            <a:rPr lang="en-US" sz="18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extubating</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 the patient, Resident A noted there appeared to be blood in the ET.</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J was monitored in the PACU for 70 minutes. Dr. K gave J's dad post-op instructions. He </a:t>
          </a:r>
          <a:r>
            <a:rPr lang="en-US" sz="1800" b="0" u="sng" dirty="0" smtClean="0">
              <a:solidFill>
                <a:schemeClr val="tx2"/>
              </a:solidFill>
              <a:latin typeface="Arial" panose="020B0604020202020204" pitchFamily="34" charset="0"/>
              <a:ea typeface="Tahoma" panose="020B0604030504040204" pitchFamily="34" charset="0"/>
              <a:cs typeface="Arial" panose="020B0604020202020204" pitchFamily="34" charset="0"/>
            </a:rPr>
            <a:t>did not tell J's father re: the desaturation episode </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at happened intraoperatively.</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J's father took J home.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next day, Dr. K received a call from J's dad indicating J had </a:t>
          </a:r>
          <a:r>
            <a:rPr lang="en-US" sz="18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desaturated</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 at home, and had died.</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8"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8" custScaleX="107904" custScaleY="34122" custLinFactNeighborY="-2024"/>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8" custScaleX="82140" custScaleY="75117" custLinFactNeighborY="3036"/>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8" custScaleX="107265" custScaleY="139051"/>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Y="-200000" custLinFactNeighborX="634" custLinFactNeighborY="-219076"/>
      <dgm:spPr/>
    </dgm:pt>
    <dgm:pt modelId="{92D138F1-8B56-4159-B906-19F28E9DE209}" type="pres">
      <dgm:prSet presAssocID="{852EC5D7-2988-497B-8DFC-D93EE5DE1299}" presName="vertSpace2b" presStyleCnt="0"/>
      <dgm:spPr/>
    </dgm:pt>
    <dgm:pt modelId="{609B4E52-5D9D-43A0-B416-498D003FB475}" type="pres">
      <dgm:prSet presAssocID="{06F5DDDE-305A-4955-A0AB-D2D38EE3B7A3}" presName="thickLine" presStyleLbl="alignNode1" presStyleIdx="2" presStyleCnt="4" custLinFactNeighborY="-11347"/>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8" custScaleX="82140" custScaleY="44257" custLinFactNeighborY="5800"/>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5" presStyleCnt="8" custScaleX="103390" custScaleY="53926" custLinFactNeighborX="-844" custLinFactNeighborY="-3546"/>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Y="200000" custLinFactNeighborX="836" custLinFactNeighborY="296525"/>
      <dgm:spPr/>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3" presStyleCnt="4" custLinFactNeighborY="24594"/>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6" presStyleCnt="8"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7" presStyleCnt="8"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Y="-100000" custLinFactNeighborY="-114338"/>
      <dgm:spPr/>
    </dgm:pt>
    <dgm:pt modelId="{BC54831F-D0F7-4893-942C-3146BA8B55B9}" type="pres">
      <dgm:prSet presAssocID="{8D948412-9783-4022-82B2-587E101905ED}" presName="vertSpace2b" presStyleCnt="0"/>
      <dgm:spPr/>
    </dgm:pt>
  </dgm:ptLst>
  <dgm:cxnLst>
    <dgm:cxn modelId="{4AA94CD7-1C8F-4161-A387-3D5EBE3A43E6}" srcId="{06F5DDDE-305A-4955-A0AB-D2D38EE3B7A3}" destId="{DEA83930-9E9C-4AE5-A15C-D0032CFE6786}" srcOrd="0" destOrd="0" parTransId="{C35B0316-5782-43A5-A4DC-C346CEBB4ECA}" sibTransId="{E779925D-5338-45F1-B180-0CBBD157D849}"/>
    <dgm:cxn modelId="{04DD017A-B020-40AC-9B2A-6E682DD56A6B}" type="presOf" srcId="{FEA87826-C15B-43C1-909B-511BC9B926D0}" destId="{6AA46DBA-49E0-44B0-AE30-BA17A235D9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401B2DB-47D5-413A-96A8-29E99941E1F9}" srcId="{FEA87826-C15B-43C1-909B-511BC9B926D0}" destId="{B86EE3D4-4775-4A9F-833F-765F6096EC9A}" srcOrd="3" destOrd="0" parTransId="{C737A28C-CEE8-449B-816E-C8BDFC6B3358}" sibTransId="{DD12A532-FC1C-4E79-9FC8-5C51B1E2AD09}"/>
    <dgm:cxn modelId="{9F615978-CC8F-4442-8F14-33E0005F7986}" srcId="{FEA87826-C15B-43C1-909B-511BC9B926D0}" destId="{06F5DDDE-305A-4955-A0AB-D2D38EE3B7A3}" srcOrd="2" destOrd="0" parTransId="{266C048C-C077-4D3B-9B64-666DC5EAFD61}" sibTransId="{A1C3020F-1823-4149-AAB3-B53E784D2199}"/>
    <dgm:cxn modelId="{113E6259-76BA-4CE5-88A9-A4E31B62E9E1}" type="presOf" srcId="{852EC5D7-2988-497B-8DFC-D93EE5DE1299}" destId="{4C4E2648-F763-4831-9507-366D9F98CAB8}"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454A42C6-D577-407A-B676-68D9123F7835}" type="presOf" srcId="{8B11413A-A39D-48C0-984F-ECABA70A5067}" destId="{0FE7586A-E0FC-4D42-8C55-A31D2EC2E4D6}"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9C0DF200-96F9-4D06-878F-261C7BE5780B}" srcId="{9913E13F-F5D1-4AB9-9C3E-6922DA30100F}" destId="{AFB19399-1F4C-4153-8F69-D7E391AF8EED}" srcOrd="0" destOrd="0" parTransId="{B74B925C-5EA5-4DBC-802C-4CCC328AE0A3}" sibTransId="{54DC3CCD-AC43-47B6-BF73-ADDD32497CBF}"/>
    <dgm:cxn modelId="{5B03FC76-E2D3-4781-95E4-7E4397118154}" type="presOf" srcId="{DEA83930-9E9C-4AE5-A15C-D0032CFE6786}" destId="{3395C0C5-F2A4-4D46-BF37-D05E3BBB4DA5}"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52 YOF M presented to Dr. A with diffuse pain around #31.</a:t>
          </a:r>
        </a:p>
        <a:p>
          <a:pPr algn="just"/>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A examined M and performed a full clinical evaluation. Symptoms were localized and severe to #31.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A recommended a RCT, and M agreed. During the RCT, Dr. A found vital tissue within the tooth, and did not prescribe </a:t>
          </a:r>
          <a:r>
            <a:rPr lang="en-US" sz="18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abx</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A discharged M, and made a follow-up appointment for 1 week later.</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2 days later, M called Dr. A's office in extreme pain. The call went unanswered.</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day later, M called again + spoke with Dr. A's assistant, T, and told her Tooth #29 was also in pain, and he was having jaw swelling.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 said she would speak with Dr. A and call M back.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A advised he thought #31 was having a "flare-up" and called in a prescription for Pen VK (for possible infection) and Medrol (for inflammation). T called M back and relayed in information.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M asked T if Dr. A was available to speak, and T advised "not today."</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day later, T presented to the ER with extreme pain. He was diagnosed with a necrotizing fasciitis that required multiple surgical debridement, and an extensive hospitalization.</a:t>
          </a:r>
        </a:p>
        <a:p>
          <a:pPr algn="just"/>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39A003FF-0379-4A6E-B253-FE84DD598D5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4D3A178-565B-48F3-874A-AEEC39DBD122}" type="parTrans" cxnId="{FF095A3B-6C30-43E6-A713-F586877396B7}">
      <dgm:prSet/>
      <dgm:spPr/>
      <dgm:t>
        <a:bodyPr/>
        <a:lstStyle/>
        <a:p>
          <a:endParaRPr lang="en-US"/>
        </a:p>
      </dgm:t>
    </dgm:pt>
    <dgm:pt modelId="{BD810109-0FDD-4AC3-90CF-4E417B7411F8}" type="sibTrans" cxnId="{FF095A3B-6C30-43E6-A713-F586877396B7}">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5"/>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9" custScaleX="82140" custScaleY="26751" custLinFactNeighborY="847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9"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custLinFactNeighborX="98" custLinFactNeighborY="-55617"/>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5" custLinFactNeighborY="2917"/>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9" custScaleX="82140" custScaleY="75117" custLinFactNeighborY="22445"/>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9" custScaleX="107265" custScaleY="227859" custLinFactNeighborX="82" custLinFactNeighborY="-90965"/>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Y="4800000" custLinFactNeighborX="-1997" custLinFactNeighborY="4841620"/>
      <dgm:spPr>
        <a:ln>
          <a:solidFill>
            <a:schemeClr val="bg1"/>
          </a:solidFill>
        </a:ln>
      </dgm:spPr>
      <dgm:t>
        <a:bodyPr/>
        <a:lstStyle/>
        <a:p>
          <a:endParaRPr lang="en-US"/>
        </a:p>
      </dgm:t>
    </dgm:pt>
    <dgm:pt modelId="{92D138F1-8B56-4159-B906-19F28E9DE209}" type="pres">
      <dgm:prSet presAssocID="{852EC5D7-2988-497B-8DFC-D93EE5DE1299}" presName="vertSpace2b" presStyleCnt="0"/>
      <dgm:spPr/>
    </dgm:pt>
    <dgm:pt modelId="{8136D638-C13A-4748-A97F-A9B9FFBD54E4}" type="pres">
      <dgm:prSet presAssocID="{39A003FF-0379-4A6E-B253-FE84DD598D50}" presName="thickLine" presStyleLbl="alignNode1" presStyleIdx="2" presStyleCnt="5" custLinFactY="200000" custLinFactNeighborX="0" custLinFactNeighborY="281268"/>
      <dgm:spPr/>
    </dgm:pt>
    <dgm:pt modelId="{FB87E936-9AD6-4DCD-81B8-B4D0A947267C}" type="pres">
      <dgm:prSet presAssocID="{39A003FF-0379-4A6E-B253-FE84DD598D50}" presName="horz1" presStyleCnt="0"/>
      <dgm:spPr/>
    </dgm:pt>
    <dgm:pt modelId="{410581A1-CCD4-408C-91A3-DAEFA671D838}" type="pres">
      <dgm:prSet presAssocID="{39A003FF-0379-4A6E-B253-FE84DD598D50}" presName="tx1" presStyleLbl="revTx" presStyleIdx="4" presStyleCnt="9" custScaleX="82140" custScaleY="75117" custLinFactY="55947" custLinFactNeighborY="100000"/>
      <dgm:spPr/>
      <dgm:t>
        <a:bodyPr/>
        <a:lstStyle/>
        <a:p>
          <a:endParaRPr lang="en-US"/>
        </a:p>
      </dgm:t>
    </dgm:pt>
    <dgm:pt modelId="{63567D6C-5A67-4172-B225-A00F12F13632}" type="pres">
      <dgm:prSet presAssocID="{39A003FF-0379-4A6E-B253-FE84DD598D50}" presName="vert1" presStyleCnt="0"/>
      <dgm:spPr/>
    </dgm:pt>
    <dgm:pt modelId="{609B4E52-5D9D-43A0-B416-498D003FB475}" type="pres">
      <dgm:prSet presAssocID="{06F5DDDE-305A-4955-A0AB-D2D38EE3B7A3}" presName="thickLine" presStyleLbl="alignNode1" presStyleIdx="3" presStyleCnt="5" custLinFactY="100000" custLinFactNeighborY="105573"/>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5" presStyleCnt="9" custScaleX="82140" custScaleY="44257" custLinFactNeighborY="66209"/>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6" presStyleCnt="9" custScaleX="103390" custScaleY="53926" custLinFactNeighborX="-644" custLinFactNeighborY="-1945"/>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Y="828125" custLinFactNeighborX="490" custLinFactNeighborY="900000"/>
      <dgm:spPr>
        <a:ln>
          <a:solidFill>
            <a:schemeClr val="bg1"/>
          </a:solidFill>
        </a:ln>
      </dgm:spPr>
      <dgm:t>
        <a:bodyPr/>
        <a:lstStyle/>
        <a:p>
          <a:endParaRPr lang="en-US"/>
        </a:p>
      </dgm:t>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4" presStyleCnt="5" custLinFactY="21566" custLinFactNeighborX="1138" custLinFactNeighborY="100000"/>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7" presStyleCnt="9"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8" presStyleCnt="9"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Y="12799" custLinFactNeighborY="100000"/>
      <dgm:spPr/>
    </dgm:pt>
    <dgm:pt modelId="{BC54831F-D0F7-4893-942C-3146BA8B55B9}" type="pres">
      <dgm:prSet presAssocID="{8D948412-9783-4022-82B2-587E101905ED}" presName="vertSpace2b" presStyleCnt="0"/>
      <dgm:spPr/>
    </dgm:pt>
  </dgm:ptLst>
  <dgm:cxnLst>
    <dgm:cxn modelId="{9F615978-CC8F-4442-8F14-33E0005F7986}" srcId="{FEA87826-C15B-43C1-909B-511BC9B926D0}" destId="{06F5DDDE-305A-4955-A0AB-D2D38EE3B7A3}" srcOrd="3" destOrd="0" parTransId="{266C048C-C077-4D3B-9B64-666DC5EAFD61}" sibTransId="{A1C3020F-1823-4149-AAB3-B53E784D2199}"/>
    <dgm:cxn modelId="{113E6259-76BA-4CE5-88A9-A4E31B62E9E1}" type="presOf" srcId="{852EC5D7-2988-497B-8DFC-D93EE5DE1299}" destId="{4C4E2648-F763-4831-9507-366D9F98CAB8}"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4DBA56A3-8BD0-4353-BB6D-F3DC00617055}" srcId="{B86EE3D4-4775-4A9F-833F-765F6096EC9A}" destId="{8D948412-9783-4022-82B2-587E101905ED}" srcOrd="0" destOrd="0" parTransId="{10D69B41-3642-4C83-AA8A-59F8F119D4F8}" sibTransId="{C12A109B-18F4-46A4-BE0F-38A5B294DAD7}"/>
    <dgm:cxn modelId="{A401B2DB-47D5-413A-96A8-29E99941E1F9}" srcId="{FEA87826-C15B-43C1-909B-511BC9B926D0}" destId="{B86EE3D4-4775-4A9F-833F-765F6096EC9A}" srcOrd="4" destOrd="0" parTransId="{C737A28C-CEE8-449B-816E-C8BDFC6B3358}" sibTransId="{DD12A532-FC1C-4E79-9FC8-5C51B1E2AD09}"/>
    <dgm:cxn modelId="{4AA94CD7-1C8F-4161-A387-3D5EBE3A43E6}" srcId="{06F5DDDE-305A-4955-A0AB-D2D38EE3B7A3}" destId="{DEA83930-9E9C-4AE5-A15C-D0032CFE6786}" srcOrd="0" destOrd="0" parTransId="{C35B0316-5782-43A5-A4DC-C346CEBB4ECA}" sibTransId="{E779925D-5338-45F1-B180-0CBBD157D849}"/>
    <dgm:cxn modelId="{581388B1-C83C-4175-8447-55AF79B40A59}" type="presOf" srcId="{AFB19399-1F4C-4153-8F69-D7E391AF8EED}" destId="{B74867AF-FC58-4603-AF88-51B79A060004}"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FF095A3B-6C30-43E6-A713-F586877396B7}" srcId="{FEA87826-C15B-43C1-909B-511BC9B926D0}" destId="{39A003FF-0379-4A6E-B253-FE84DD598D50}" srcOrd="2" destOrd="0" parTransId="{A4D3A178-565B-48F3-874A-AEEC39DBD122}" sibTransId="{BD810109-0FDD-4AC3-90CF-4E417B7411F8}"/>
    <dgm:cxn modelId="{9B387E3C-4B95-46E9-8DCD-B1DBB6642EB7}" srcId="{FEA87826-C15B-43C1-909B-511BC9B926D0}" destId="{8B11413A-A39D-48C0-984F-ECABA70A5067}" srcOrd="1" destOrd="0" parTransId="{44C6EDFD-E4BE-4E19-8EFC-9D39B25663B4}" sibTransId="{7D4A822B-8E1D-4B77-BDCC-25EE33A9BA38}"/>
    <dgm:cxn modelId="{0DA13AAC-803C-4775-BB2E-8096D32B2E1E}" type="presOf" srcId="{8D948412-9783-4022-82B2-587E101905ED}" destId="{AD07910F-C053-4F49-9E25-5FFC6C1BA73B}" srcOrd="0" destOrd="0" presId="urn:microsoft.com/office/officeart/2008/layout/LinedList"/>
    <dgm:cxn modelId="{5B03FC76-E2D3-4781-95E4-7E4397118154}" type="presOf" srcId="{DEA83930-9E9C-4AE5-A15C-D0032CFE6786}" destId="{3395C0C5-F2A4-4D46-BF37-D05E3BBB4DA5}"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DFF4E885-604D-439F-B13C-29D7C88D3569}" type="presOf" srcId="{39A003FF-0379-4A6E-B253-FE84DD598D50}" destId="{410581A1-CCD4-408C-91A3-DAEFA671D838}"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EC05001D-4EE8-415B-A0A9-9691D76DADBE}" type="presParOf" srcId="{6AA46DBA-49E0-44B0-AE30-BA17A235D9D6}" destId="{8136D638-C13A-4748-A97F-A9B9FFBD54E4}" srcOrd="4" destOrd="0" presId="urn:microsoft.com/office/officeart/2008/layout/LinedList"/>
    <dgm:cxn modelId="{4B57F30E-AE64-4E1E-B787-6EA6C40CBC92}" type="presParOf" srcId="{6AA46DBA-49E0-44B0-AE30-BA17A235D9D6}" destId="{FB87E936-9AD6-4DCD-81B8-B4D0A947267C}" srcOrd="5" destOrd="0" presId="urn:microsoft.com/office/officeart/2008/layout/LinedList"/>
    <dgm:cxn modelId="{B4F89681-065F-4D81-A909-769771589577}" type="presParOf" srcId="{FB87E936-9AD6-4DCD-81B8-B4D0A947267C}" destId="{410581A1-CCD4-408C-91A3-DAEFA671D838}" srcOrd="0" destOrd="0" presId="urn:microsoft.com/office/officeart/2008/layout/LinedList"/>
    <dgm:cxn modelId="{DD251270-07DA-4FA3-BBCA-BA4B3754930C}" type="presParOf" srcId="{FB87E936-9AD6-4DCD-81B8-B4D0A947267C}" destId="{63567D6C-5A67-4172-B225-A00F12F13632}" srcOrd="1" destOrd="0" presId="urn:microsoft.com/office/officeart/2008/layout/LinedList"/>
    <dgm:cxn modelId="{BF4B72C1-B528-4BFB-AE87-4C1F8F02534A}" type="presParOf" srcId="{6AA46DBA-49E0-44B0-AE30-BA17A235D9D6}" destId="{609B4E52-5D9D-43A0-B416-498D003FB475}" srcOrd="6" destOrd="0" presId="urn:microsoft.com/office/officeart/2008/layout/LinedList"/>
    <dgm:cxn modelId="{E0DB0072-EFA9-46D0-A0F6-FCB2C3295365}" type="presParOf" srcId="{6AA46DBA-49E0-44B0-AE30-BA17A235D9D6}" destId="{3E22D269-3280-47B0-8B3B-67A4568ABEA1}" srcOrd="7"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8" destOrd="0" presId="urn:microsoft.com/office/officeart/2008/layout/LinedList"/>
    <dgm:cxn modelId="{A33E6196-BA4A-4CA8-A532-514B9A2333EB}" type="presParOf" srcId="{6AA46DBA-49E0-44B0-AE30-BA17A235D9D6}" destId="{24974A66-EC0E-4B87-8DBC-6BAF19D66150}" srcOrd="9"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40 YOM, S, presented to Dr. M for a </a:t>
          </a:r>
          <a:r>
            <a:rPr lang="en-US" sz="18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prophy</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 visit. Dr. M noted a lesion on the inside of the S's right cheek, and asked if he had been chewing on it. S denied this.</a:t>
          </a:r>
        </a:p>
        <a:p>
          <a:pPr algn="just"/>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M advised the S he wanted to see him back in 1 month for a recall appointment. S did not return for 3 months. Dr. M observed there was still a slight abnormality on the inside of the cheek. Advised S to return in 1 month. Dr. M intended to biopsy the area if the S returned with an abnormality.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S did not return for 1 year and 7 months.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When S did return, he complained of pain in his jaw and in his gums. Dr. M observed a more prominent lesion on the inside of the S's cheek, and took a biopsy. </a:t>
          </a:r>
        </a:p>
        <a:p>
          <a:pPr algn="just"/>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S was diagnosed with squamous cell carcinoma of the jaw, requiring a </a:t>
          </a:r>
          <a:r>
            <a:rPr lang="en-US" sz="18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hemimandibulectomy</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 bone grafting from his leg, chemotherapy, and radiation. S has had two subsequent reoccurrences of his cancer. </a:t>
          </a:r>
        </a:p>
        <a:p>
          <a:pPr algn="just"/>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39A003FF-0379-4A6E-B253-FE84DD598D5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4D3A178-565B-48F3-874A-AEEC39DBD122}" type="parTrans" cxnId="{FF095A3B-6C30-43E6-A713-F586877396B7}">
      <dgm:prSet/>
      <dgm:spPr/>
      <dgm:t>
        <a:bodyPr/>
        <a:lstStyle/>
        <a:p>
          <a:endParaRPr lang="en-US"/>
        </a:p>
      </dgm:t>
    </dgm:pt>
    <dgm:pt modelId="{BD810109-0FDD-4AC3-90CF-4E417B7411F8}" type="sibTrans" cxnId="{FF095A3B-6C30-43E6-A713-F586877396B7}">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5"/>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9" custScaleX="82140" custScaleY="26751" custLinFactNeighborY="847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9"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custLinFactY="55603" custLinFactNeighborX="98" custLinFactNeighborY="100000"/>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5" custLinFactNeighborY="6340"/>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9" custScaleX="82140" custScaleY="75117" custLinFactNeighborY="22445"/>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9" custScaleX="107265" custScaleY="227859" custLinFactY="-9967" custLinFactNeighborX="-327" custLinFactNeighborY="-100000"/>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Y="1001911" custLinFactNeighborX="-85" custLinFactNeighborY="1100000"/>
      <dgm:spPr>
        <a:ln>
          <a:solidFill>
            <a:schemeClr val="bg1"/>
          </a:solidFill>
        </a:ln>
      </dgm:spPr>
      <dgm:t>
        <a:bodyPr/>
        <a:lstStyle/>
        <a:p>
          <a:endParaRPr lang="en-US"/>
        </a:p>
      </dgm:t>
    </dgm:pt>
    <dgm:pt modelId="{92D138F1-8B56-4159-B906-19F28E9DE209}" type="pres">
      <dgm:prSet presAssocID="{852EC5D7-2988-497B-8DFC-D93EE5DE1299}" presName="vertSpace2b" presStyleCnt="0"/>
      <dgm:spPr/>
    </dgm:pt>
    <dgm:pt modelId="{8136D638-C13A-4748-A97F-A9B9FFBD54E4}" type="pres">
      <dgm:prSet presAssocID="{39A003FF-0379-4A6E-B253-FE84DD598D50}" presName="thickLine" presStyleLbl="alignNode1" presStyleIdx="2" presStyleCnt="5" custLinFactNeighborY="66045"/>
      <dgm:spPr/>
    </dgm:pt>
    <dgm:pt modelId="{FB87E936-9AD6-4DCD-81B8-B4D0A947267C}" type="pres">
      <dgm:prSet presAssocID="{39A003FF-0379-4A6E-B253-FE84DD598D50}" presName="horz1" presStyleCnt="0"/>
      <dgm:spPr/>
    </dgm:pt>
    <dgm:pt modelId="{410581A1-CCD4-408C-91A3-DAEFA671D838}" type="pres">
      <dgm:prSet presAssocID="{39A003FF-0379-4A6E-B253-FE84DD598D50}" presName="tx1" presStyleLbl="revTx" presStyleIdx="4" presStyleCnt="9" custScaleX="82140" custScaleY="75117" custLinFactNeighborX="3433" custLinFactNeighborY="61478"/>
      <dgm:spPr/>
      <dgm:t>
        <a:bodyPr/>
        <a:lstStyle/>
        <a:p>
          <a:endParaRPr lang="en-US"/>
        </a:p>
      </dgm:t>
    </dgm:pt>
    <dgm:pt modelId="{63567D6C-5A67-4172-B225-A00F12F13632}" type="pres">
      <dgm:prSet presAssocID="{39A003FF-0379-4A6E-B253-FE84DD598D50}" presName="vert1" presStyleCnt="0"/>
      <dgm:spPr/>
    </dgm:pt>
    <dgm:pt modelId="{609B4E52-5D9D-43A0-B416-498D003FB475}" type="pres">
      <dgm:prSet presAssocID="{06F5DDDE-305A-4955-A0AB-D2D38EE3B7A3}" presName="thickLine" presStyleLbl="alignNode1" presStyleIdx="3" presStyleCnt="5" custLinFactNeighborX="610" custLinFactNeighborY="-42379"/>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5" presStyleCnt="9" custScaleX="82140" custScaleY="44257" custLinFactNeighborY="66209"/>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6" presStyleCnt="9" custScaleX="103390" custScaleY="53926" custLinFactNeighborX="-644" custLinFactNeighborY="-1945"/>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NeighborX="293" custLinFactNeighborY="23653"/>
      <dgm:spPr>
        <a:ln>
          <a:solidFill>
            <a:schemeClr val="bg1"/>
          </a:solidFill>
        </a:ln>
      </dgm:spPr>
      <dgm:t>
        <a:bodyPr/>
        <a:lstStyle/>
        <a:p>
          <a:endParaRPr lang="en-US"/>
        </a:p>
      </dgm:t>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4" presStyleCnt="5" custLinFactY="-100000" custLinFactNeighborX="-315" custLinFactNeighborY="-114568"/>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7" presStyleCnt="9"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8" presStyleCnt="9"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Y="-100000" custLinFactNeighborY="-114338"/>
      <dgm:spPr/>
    </dgm:pt>
    <dgm:pt modelId="{BC54831F-D0F7-4893-942C-3146BA8B55B9}" type="pres">
      <dgm:prSet presAssocID="{8D948412-9783-4022-82B2-587E101905ED}" presName="vertSpace2b" presStyleCnt="0"/>
      <dgm:spPr/>
    </dgm:pt>
  </dgm:ptLst>
  <dgm:cxnLst>
    <dgm:cxn modelId="{9F615978-CC8F-4442-8F14-33E0005F7986}" srcId="{FEA87826-C15B-43C1-909B-511BC9B926D0}" destId="{06F5DDDE-305A-4955-A0AB-D2D38EE3B7A3}" srcOrd="3" destOrd="0" parTransId="{266C048C-C077-4D3B-9B64-666DC5EAFD61}" sibTransId="{A1C3020F-1823-4149-AAB3-B53E784D2199}"/>
    <dgm:cxn modelId="{113E6259-76BA-4CE5-88A9-A4E31B62E9E1}" type="presOf" srcId="{852EC5D7-2988-497B-8DFC-D93EE5DE1299}" destId="{4C4E2648-F763-4831-9507-366D9F98CAB8}"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4DBA56A3-8BD0-4353-BB6D-F3DC00617055}" srcId="{B86EE3D4-4775-4A9F-833F-765F6096EC9A}" destId="{8D948412-9783-4022-82B2-587E101905ED}" srcOrd="0" destOrd="0" parTransId="{10D69B41-3642-4C83-AA8A-59F8F119D4F8}" sibTransId="{C12A109B-18F4-46A4-BE0F-38A5B294DAD7}"/>
    <dgm:cxn modelId="{A401B2DB-47D5-413A-96A8-29E99941E1F9}" srcId="{FEA87826-C15B-43C1-909B-511BC9B926D0}" destId="{B86EE3D4-4775-4A9F-833F-765F6096EC9A}" srcOrd="4" destOrd="0" parTransId="{C737A28C-CEE8-449B-816E-C8BDFC6B3358}" sibTransId="{DD12A532-FC1C-4E79-9FC8-5C51B1E2AD09}"/>
    <dgm:cxn modelId="{4AA94CD7-1C8F-4161-A387-3D5EBE3A43E6}" srcId="{06F5DDDE-305A-4955-A0AB-D2D38EE3B7A3}" destId="{DEA83930-9E9C-4AE5-A15C-D0032CFE6786}" srcOrd="0" destOrd="0" parTransId="{C35B0316-5782-43A5-A4DC-C346CEBB4ECA}" sibTransId="{E779925D-5338-45F1-B180-0CBBD157D849}"/>
    <dgm:cxn modelId="{581388B1-C83C-4175-8447-55AF79B40A59}" type="presOf" srcId="{AFB19399-1F4C-4153-8F69-D7E391AF8EED}" destId="{B74867AF-FC58-4603-AF88-51B79A060004}"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FF095A3B-6C30-43E6-A713-F586877396B7}" srcId="{FEA87826-C15B-43C1-909B-511BC9B926D0}" destId="{39A003FF-0379-4A6E-B253-FE84DD598D50}" srcOrd="2" destOrd="0" parTransId="{A4D3A178-565B-48F3-874A-AEEC39DBD122}" sibTransId="{BD810109-0FDD-4AC3-90CF-4E417B7411F8}"/>
    <dgm:cxn modelId="{9B387E3C-4B95-46E9-8DCD-B1DBB6642EB7}" srcId="{FEA87826-C15B-43C1-909B-511BC9B926D0}" destId="{8B11413A-A39D-48C0-984F-ECABA70A5067}" srcOrd="1" destOrd="0" parTransId="{44C6EDFD-E4BE-4E19-8EFC-9D39B25663B4}" sibTransId="{7D4A822B-8E1D-4B77-BDCC-25EE33A9BA38}"/>
    <dgm:cxn modelId="{0DA13AAC-803C-4775-BB2E-8096D32B2E1E}" type="presOf" srcId="{8D948412-9783-4022-82B2-587E101905ED}" destId="{AD07910F-C053-4F49-9E25-5FFC6C1BA73B}" srcOrd="0" destOrd="0" presId="urn:microsoft.com/office/officeart/2008/layout/LinedList"/>
    <dgm:cxn modelId="{5B03FC76-E2D3-4781-95E4-7E4397118154}" type="presOf" srcId="{DEA83930-9E9C-4AE5-A15C-D0032CFE6786}" destId="{3395C0C5-F2A4-4D46-BF37-D05E3BBB4DA5}"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DFF4E885-604D-439F-B13C-29D7C88D3569}" type="presOf" srcId="{39A003FF-0379-4A6E-B253-FE84DD598D50}" destId="{410581A1-CCD4-408C-91A3-DAEFA671D838}"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EC05001D-4EE8-415B-A0A9-9691D76DADBE}" type="presParOf" srcId="{6AA46DBA-49E0-44B0-AE30-BA17A235D9D6}" destId="{8136D638-C13A-4748-A97F-A9B9FFBD54E4}" srcOrd="4" destOrd="0" presId="urn:microsoft.com/office/officeart/2008/layout/LinedList"/>
    <dgm:cxn modelId="{4B57F30E-AE64-4E1E-B787-6EA6C40CBC92}" type="presParOf" srcId="{6AA46DBA-49E0-44B0-AE30-BA17A235D9D6}" destId="{FB87E936-9AD6-4DCD-81B8-B4D0A947267C}" srcOrd="5" destOrd="0" presId="urn:microsoft.com/office/officeart/2008/layout/LinedList"/>
    <dgm:cxn modelId="{B4F89681-065F-4D81-A909-769771589577}" type="presParOf" srcId="{FB87E936-9AD6-4DCD-81B8-B4D0A947267C}" destId="{410581A1-CCD4-408C-91A3-DAEFA671D838}" srcOrd="0" destOrd="0" presId="urn:microsoft.com/office/officeart/2008/layout/LinedList"/>
    <dgm:cxn modelId="{DD251270-07DA-4FA3-BBCA-BA4B3754930C}" type="presParOf" srcId="{FB87E936-9AD6-4DCD-81B8-B4D0A947267C}" destId="{63567D6C-5A67-4172-B225-A00F12F13632}" srcOrd="1" destOrd="0" presId="urn:microsoft.com/office/officeart/2008/layout/LinedList"/>
    <dgm:cxn modelId="{BF4B72C1-B528-4BFB-AE87-4C1F8F02534A}" type="presParOf" srcId="{6AA46DBA-49E0-44B0-AE30-BA17A235D9D6}" destId="{609B4E52-5D9D-43A0-B416-498D003FB475}" srcOrd="6" destOrd="0" presId="urn:microsoft.com/office/officeart/2008/layout/LinedList"/>
    <dgm:cxn modelId="{E0DB0072-EFA9-46D0-A0F6-FCB2C3295365}" type="presParOf" srcId="{6AA46DBA-49E0-44B0-AE30-BA17A235D9D6}" destId="{3E22D269-3280-47B0-8B3B-67A4568ABEA1}" srcOrd="7"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8" destOrd="0" presId="urn:microsoft.com/office/officeart/2008/layout/LinedList"/>
    <dgm:cxn modelId="{A33E6196-BA4A-4CA8-A532-514B9A2333EB}" type="presParOf" srcId="{6AA46DBA-49E0-44B0-AE30-BA17A235D9D6}" destId="{24974A66-EC0E-4B87-8DBC-6BAF19D66150}" srcOrd="9"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EE78B0F-C07D-49E2-911E-95F1801FE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0AB865B-6AAF-4B8B-A9A6-9ACF3B2438E9}">
      <dgm:prSet phldrT="[Text]" custT="1"/>
      <dgm:spPr/>
      <dgm:t>
        <a:bodyPr/>
        <a:lstStyle/>
        <a:p>
          <a:r>
            <a:rPr lang="en-US" sz="3000" dirty="0" smtClean="0"/>
            <a:t>What is different about Post-Op Systems Failure Cases:</a:t>
          </a:r>
          <a:endParaRPr lang="en-US" sz="3000" dirty="0"/>
        </a:p>
      </dgm:t>
    </dgm:pt>
    <dgm:pt modelId="{A7BE3B71-3187-4E24-8A1B-ECECDB86CE3D}" type="parTrans" cxnId="{A263E406-09DC-49F3-83D2-7B4758993A09}">
      <dgm:prSet/>
      <dgm:spPr/>
      <dgm:t>
        <a:bodyPr/>
        <a:lstStyle/>
        <a:p>
          <a:endParaRPr lang="en-US" sz="2400"/>
        </a:p>
      </dgm:t>
    </dgm:pt>
    <dgm:pt modelId="{0116BA1D-D6DE-4D2F-8849-DCAA9B00FF6F}" type="sibTrans" cxnId="{A263E406-09DC-49F3-83D2-7B4758993A09}">
      <dgm:prSet/>
      <dgm:spPr/>
      <dgm:t>
        <a:bodyPr/>
        <a:lstStyle/>
        <a:p>
          <a:endParaRPr lang="en-US" sz="2400"/>
        </a:p>
      </dgm:t>
    </dgm:pt>
    <dgm:pt modelId="{F1DEEE62-FDF7-4465-8DFD-12ECAD17359C}">
      <dgm:prSet custT="1"/>
      <dgm:spPr/>
      <dgm:t>
        <a:bodyPr/>
        <a:lstStyle/>
        <a:p>
          <a:pPr>
            <a:lnSpc>
              <a:spcPct val="100000"/>
            </a:lnSpc>
            <a:spcAft>
              <a:spcPts val="1200"/>
            </a:spcAft>
          </a:pPr>
          <a:endParaRPr lang="en-US" sz="2400" dirty="0">
            <a:solidFill>
              <a:schemeClr val="tx2"/>
            </a:solidFill>
          </a:endParaRPr>
        </a:p>
      </dgm:t>
    </dgm:pt>
    <dgm:pt modelId="{D58AFEB4-CD26-4E45-8212-8BABC2552F32}" type="parTrans" cxnId="{DD6EBC45-6B69-4A31-8700-74A4867CE9AC}">
      <dgm:prSet/>
      <dgm:spPr/>
      <dgm:t>
        <a:bodyPr/>
        <a:lstStyle/>
        <a:p>
          <a:endParaRPr lang="en-US"/>
        </a:p>
      </dgm:t>
    </dgm:pt>
    <dgm:pt modelId="{3DA44AAA-5BFF-4D97-8728-50D3DF578A67}" type="sibTrans" cxnId="{DD6EBC45-6B69-4A31-8700-74A4867CE9AC}">
      <dgm:prSet/>
      <dgm:spPr/>
      <dgm:t>
        <a:bodyPr/>
        <a:lstStyle/>
        <a:p>
          <a:endParaRPr lang="en-US"/>
        </a:p>
      </dgm:t>
    </dgm:pt>
    <dgm:pt modelId="{BF7A3683-CCBA-41BB-8586-8D638FCBE1B1}">
      <dgm:prSet custT="1"/>
      <dgm:spPr/>
      <dgm:t>
        <a:bodyPr/>
        <a:lstStyle/>
        <a:p>
          <a:pPr>
            <a:lnSpc>
              <a:spcPct val="100000"/>
            </a:lnSpc>
            <a:spcAft>
              <a:spcPts val="1200"/>
            </a:spcAft>
          </a:pPr>
          <a:endParaRPr lang="en-US" sz="1800" dirty="0">
            <a:solidFill>
              <a:schemeClr val="tx2"/>
            </a:solidFill>
            <a:latin typeface="+mj-lt"/>
          </a:endParaRPr>
        </a:p>
      </dgm:t>
    </dgm:pt>
    <dgm:pt modelId="{541E169B-6AB3-43AD-9576-774B3CAFFB4C}" type="parTrans" cxnId="{4A4005C7-D151-4261-9E00-4F5A8ABECB62}">
      <dgm:prSet/>
      <dgm:spPr/>
      <dgm:t>
        <a:bodyPr/>
        <a:lstStyle/>
        <a:p>
          <a:endParaRPr lang="en-US"/>
        </a:p>
      </dgm:t>
    </dgm:pt>
    <dgm:pt modelId="{C9C0CA69-190C-4BBE-B422-F5B998FBADE8}" type="sibTrans" cxnId="{4A4005C7-D151-4261-9E00-4F5A8ABECB62}">
      <dgm:prSet/>
      <dgm:spPr/>
      <dgm:t>
        <a:bodyPr/>
        <a:lstStyle/>
        <a:p>
          <a:endParaRPr lang="en-US"/>
        </a:p>
      </dgm:t>
    </dgm:pt>
    <dgm:pt modelId="{CD4626D5-8CC5-41C9-9063-B845BA922E28}">
      <dgm:prSet custT="1"/>
      <dgm:spPr/>
      <dgm:t>
        <a:bodyPr/>
        <a:lstStyle/>
        <a:p>
          <a:pPr>
            <a:lnSpc>
              <a:spcPct val="100000"/>
            </a:lnSpc>
            <a:spcAft>
              <a:spcPts val="1200"/>
            </a:spcAft>
          </a:pPr>
          <a:r>
            <a:rPr lang="en-US" altLang="en-US" sz="2500" dirty="0" smtClean="0">
              <a:solidFill>
                <a:schemeClr val="tx2"/>
              </a:solidFill>
              <a:latin typeface="+mj-lt"/>
              <a:ea typeface="Trebuchet MS" panose="020B0603020202020204" pitchFamily="34" charset="0"/>
              <a:cs typeface="Trebuchet MS" panose="020B0603020202020204" pitchFamily="34" charset="0"/>
            </a:rPr>
            <a:t>More About:</a:t>
          </a:r>
          <a:endParaRPr lang="en-US" sz="2500" dirty="0">
            <a:solidFill>
              <a:schemeClr val="tx2"/>
            </a:solidFill>
            <a:latin typeface="+mj-lt"/>
          </a:endParaRPr>
        </a:p>
      </dgm:t>
    </dgm:pt>
    <dgm:pt modelId="{8097E680-0197-4FFD-A780-A45E1F9EE998}" type="parTrans" cxnId="{74A66DD8-1429-469D-BC9D-0A6F8A7C5C60}">
      <dgm:prSet/>
      <dgm:spPr/>
      <dgm:t>
        <a:bodyPr/>
        <a:lstStyle/>
        <a:p>
          <a:endParaRPr lang="en-US"/>
        </a:p>
      </dgm:t>
    </dgm:pt>
    <dgm:pt modelId="{518BB191-AD4B-4916-AA4D-8650B4D6006D}" type="sibTrans" cxnId="{74A66DD8-1429-469D-BC9D-0A6F8A7C5C60}">
      <dgm:prSet/>
      <dgm:spPr/>
      <dgm:t>
        <a:bodyPr/>
        <a:lstStyle/>
        <a:p>
          <a:endParaRPr lang="en-US"/>
        </a:p>
      </dgm:t>
    </dgm:pt>
    <dgm:pt modelId="{C0C93E54-74B7-44B7-A15C-B44F04A8F513}">
      <dgm:prSet custT="1"/>
      <dgm:spPr/>
      <dgm:t>
        <a:bodyPr/>
        <a:lstStyle/>
        <a:p>
          <a:pPr>
            <a:lnSpc>
              <a:spcPct val="100000"/>
            </a:lnSpc>
            <a:spcAft>
              <a:spcPts val="1200"/>
            </a:spcAft>
          </a:pPr>
          <a:endParaRPr lang="en-US" sz="2500" dirty="0">
            <a:solidFill>
              <a:schemeClr val="accent1"/>
            </a:solidFill>
            <a:latin typeface="+mj-lt"/>
          </a:endParaRPr>
        </a:p>
      </dgm:t>
    </dgm:pt>
    <dgm:pt modelId="{FFE3037D-7869-416E-9013-DF9D18988C39}" type="parTrans" cxnId="{A7682372-DDBF-468C-9309-1C6796C82572}">
      <dgm:prSet/>
      <dgm:spPr/>
      <dgm:t>
        <a:bodyPr/>
        <a:lstStyle/>
        <a:p>
          <a:endParaRPr lang="en-US"/>
        </a:p>
      </dgm:t>
    </dgm:pt>
    <dgm:pt modelId="{706A2A77-93AF-4DE3-BF21-F4966CCA6EBF}" type="sibTrans" cxnId="{A7682372-DDBF-468C-9309-1C6796C82572}">
      <dgm:prSet/>
      <dgm:spPr/>
      <dgm:t>
        <a:bodyPr/>
        <a:lstStyle/>
        <a:p>
          <a:endParaRPr lang="en-US"/>
        </a:p>
      </dgm:t>
    </dgm:pt>
    <dgm:pt modelId="{01586762-0386-47F9-8300-9B2EA124E66E}">
      <dgm:prSet custT="1"/>
      <dgm:spPr/>
      <dgm:t>
        <a:bodyPr/>
        <a:lstStyle/>
        <a:p>
          <a:pPr>
            <a:lnSpc>
              <a:spcPct val="100000"/>
            </a:lnSpc>
            <a:spcAft>
              <a:spcPts val="1200"/>
            </a:spcAft>
          </a:pPr>
          <a:endParaRPr lang="en-US" sz="1800" dirty="0">
            <a:solidFill>
              <a:schemeClr val="accent1"/>
            </a:solidFill>
            <a:latin typeface="+mj-lt"/>
          </a:endParaRPr>
        </a:p>
      </dgm:t>
    </dgm:pt>
    <dgm:pt modelId="{614652D2-85F4-4296-87A9-8A406AF59A4A}" type="parTrans" cxnId="{F695F281-A07D-4AA1-A588-D55103379023}">
      <dgm:prSet/>
      <dgm:spPr/>
      <dgm:t>
        <a:bodyPr/>
        <a:lstStyle/>
        <a:p>
          <a:endParaRPr lang="en-US"/>
        </a:p>
      </dgm:t>
    </dgm:pt>
    <dgm:pt modelId="{9DA11FBB-824D-4652-9590-4593341F624B}" type="sibTrans" cxnId="{F695F281-A07D-4AA1-A588-D55103379023}">
      <dgm:prSet/>
      <dgm:spPr/>
      <dgm:t>
        <a:bodyPr/>
        <a:lstStyle/>
        <a:p>
          <a:endParaRPr lang="en-US"/>
        </a:p>
      </dgm:t>
    </dgm:pt>
    <dgm:pt modelId="{C9E327F5-011B-4687-8E95-F234C373EF71}">
      <dgm:prSet custT="1"/>
      <dgm:spPr/>
      <dgm:t>
        <a:bodyPr/>
        <a:lstStyle/>
        <a:p>
          <a:pPr>
            <a:lnSpc>
              <a:spcPct val="100000"/>
            </a:lnSpc>
            <a:spcAft>
              <a:spcPts val="1200"/>
            </a:spcAft>
          </a:pPr>
          <a:r>
            <a:rPr lang="en-US" sz="2500" dirty="0" smtClean="0">
              <a:solidFill>
                <a:schemeClr val="tx2"/>
              </a:solidFill>
              <a:latin typeface="+mj-lt"/>
            </a:rPr>
            <a:t>Less About:</a:t>
          </a:r>
          <a:endParaRPr lang="en-US" sz="2500" dirty="0">
            <a:solidFill>
              <a:schemeClr val="tx2"/>
            </a:solidFill>
            <a:latin typeface="+mj-lt"/>
          </a:endParaRPr>
        </a:p>
      </dgm:t>
    </dgm:pt>
    <dgm:pt modelId="{9EE5E42E-5697-42C4-B88D-DE38EB0161A7}" type="parTrans" cxnId="{B6CF1101-CC32-4D01-B40D-7AD6E95150F1}">
      <dgm:prSet/>
      <dgm:spPr/>
      <dgm:t>
        <a:bodyPr/>
        <a:lstStyle/>
        <a:p>
          <a:endParaRPr lang="en-US"/>
        </a:p>
      </dgm:t>
    </dgm:pt>
    <dgm:pt modelId="{23B3AC25-CA70-4EA5-A167-670955090B7B}" type="sibTrans" cxnId="{B6CF1101-CC32-4D01-B40D-7AD6E95150F1}">
      <dgm:prSet/>
      <dgm:spPr/>
      <dgm:t>
        <a:bodyPr/>
        <a:lstStyle/>
        <a:p>
          <a:endParaRPr lang="en-US"/>
        </a:p>
      </dgm:t>
    </dgm:pt>
    <dgm:pt modelId="{8CC36D45-BBB9-407E-9B0A-7E1D94831CF1}">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Communication between patient/family and dentist/staff</a:t>
          </a:r>
          <a:endParaRPr lang="en-US" sz="1800" dirty="0">
            <a:solidFill>
              <a:schemeClr val="tx2"/>
            </a:solidFill>
            <a:latin typeface="+mj-lt"/>
          </a:endParaRPr>
        </a:p>
      </dgm:t>
    </dgm:pt>
    <dgm:pt modelId="{F35A4907-FAA7-4D86-8F2F-F9D3C40FD3A9}" type="parTrans" cxnId="{3042690D-0F7F-41FE-9401-9F27D21AD40D}">
      <dgm:prSet/>
      <dgm:spPr/>
    </dgm:pt>
    <dgm:pt modelId="{F050E578-53F1-462F-BDD0-DE58EFBEBF96}" type="sibTrans" cxnId="{3042690D-0F7F-41FE-9401-9F27D21AD40D}">
      <dgm:prSet/>
      <dgm:spPr/>
    </dgm:pt>
    <dgm:pt modelId="{BA34B4AB-BB10-44F6-97D3-4D7B82ACB185}">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Communication among providers</a:t>
          </a:r>
          <a:endParaRPr lang="en-US" sz="1800" dirty="0">
            <a:solidFill>
              <a:schemeClr val="tx2"/>
            </a:solidFill>
            <a:latin typeface="+mj-lt"/>
          </a:endParaRPr>
        </a:p>
      </dgm:t>
    </dgm:pt>
    <dgm:pt modelId="{F83ADCB3-658E-413C-9C93-152766514913}" type="parTrans" cxnId="{A5CF1D8A-BDDA-4766-9725-69B7E95F3D0C}">
      <dgm:prSet/>
      <dgm:spPr/>
    </dgm:pt>
    <dgm:pt modelId="{60D1976D-F65E-41E6-A7EE-C246655ED1EB}" type="sibTrans" cxnId="{A5CF1D8A-BDDA-4766-9725-69B7E95F3D0C}">
      <dgm:prSet/>
      <dgm:spPr/>
    </dgm:pt>
    <dgm:pt modelId="{2649AA85-C877-4B09-B192-DC10CC30478C}">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Failure/delay in obtaining consult/referral</a:t>
          </a:r>
          <a:endParaRPr lang="en-US" sz="1800" dirty="0">
            <a:solidFill>
              <a:schemeClr val="tx2"/>
            </a:solidFill>
            <a:latin typeface="+mj-lt"/>
          </a:endParaRPr>
        </a:p>
      </dgm:t>
    </dgm:pt>
    <dgm:pt modelId="{71349299-676C-4AFD-B4C5-E67EF4CE009D}" type="parTrans" cxnId="{FCA03D7B-42C6-42E6-9E1F-43AE63443594}">
      <dgm:prSet/>
      <dgm:spPr/>
    </dgm:pt>
    <dgm:pt modelId="{15CF3744-AD5E-4130-9DD0-11A2B47C4FAF}" type="sibTrans" cxnId="{FCA03D7B-42C6-42E6-9E1F-43AE63443594}">
      <dgm:prSet/>
      <dgm:spPr/>
    </dgm:pt>
    <dgm:pt modelId="{60DF72B4-946C-4543-8B3D-C5E825E23318}">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Lack of/failure in patient follow-up system</a:t>
          </a:r>
          <a:endParaRPr lang="en-US" sz="1800" dirty="0">
            <a:solidFill>
              <a:schemeClr val="tx2"/>
            </a:solidFill>
            <a:latin typeface="+mj-lt"/>
          </a:endParaRPr>
        </a:p>
      </dgm:t>
    </dgm:pt>
    <dgm:pt modelId="{536A8915-C8FE-4EAB-8C7F-C3A12773D8DC}" type="parTrans" cxnId="{5F92EA09-7718-4ED6-B50D-97916B95C955}">
      <dgm:prSet/>
      <dgm:spPr/>
    </dgm:pt>
    <dgm:pt modelId="{8492CFA3-9285-4117-B46C-E05B2A73ED4C}" type="sibTrans" cxnId="{5F92EA09-7718-4ED6-B50D-97916B95C955}">
      <dgm:prSet/>
      <dgm:spPr/>
    </dgm:pt>
    <dgm:pt modelId="{1E12F7F3-9846-4138-8BB3-7203625A4D4C}">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Expert testimony at trial is less important</a:t>
          </a:r>
          <a:endParaRPr lang="en-US" sz="1800" dirty="0">
            <a:solidFill>
              <a:schemeClr val="tx2"/>
            </a:solidFill>
            <a:latin typeface="+mj-lt"/>
          </a:endParaRPr>
        </a:p>
      </dgm:t>
    </dgm:pt>
    <dgm:pt modelId="{A63A638C-4416-4BFF-A189-38B9186EB8D1}" type="parTrans" cxnId="{AB3A9804-ACA2-49D1-BBDE-BAA2EBD7A60E}">
      <dgm:prSet/>
      <dgm:spPr/>
    </dgm:pt>
    <dgm:pt modelId="{EA40081A-AF9A-4F02-8686-B1C45CE53AEF}" type="sibTrans" cxnId="{AB3A9804-ACA2-49D1-BBDE-BAA2EBD7A60E}">
      <dgm:prSet/>
      <dgm:spPr/>
    </dgm:pt>
    <dgm:pt modelId="{635122DD-946C-453F-98B3-03C89580F50B}">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Patient assessment issues</a:t>
          </a:r>
          <a:endParaRPr lang="en-US" sz="2500" dirty="0">
            <a:solidFill>
              <a:schemeClr val="tx2"/>
            </a:solidFill>
            <a:latin typeface="+mj-lt"/>
          </a:endParaRPr>
        </a:p>
      </dgm:t>
    </dgm:pt>
    <dgm:pt modelId="{64A5076E-1186-4919-96FE-73244FD4B2BC}" type="parTrans" cxnId="{9A2D25F8-2D52-415F-89C5-355509188B4A}">
      <dgm:prSet/>
      <dgm:spPr/>
    </dgm:pt>
    <dgm:pt modelId="{33C7EC08-658C-41C3-94C4-C8D79366AB0A}" type="sibTrans" cxnId="{9A2D25F8-2D52-415F-89C5-355509188B4A}">
      <dgm:prSet/>
      <dgm:spPr/>
    </dgm:pt>
    <dgm:pt modelId="{269AEAF4-82DC-4929-81C3-ED3CB0427C94}">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Clinical interpretation of dx studies</a:t>
          </a:r>
          <a:endParaRPr lang="en-US" sz="2500" dirty="0">
            <a:solidFill>
              <a:schemeClr val="tx2"/>
            </a:solidFill>
            <a:latin typeface="+mj-lt"/>
          </a:endParaRPr>
        </a:p>
      </dgm:t>
    </dgm:pt>
    <dgm:pt modelId="{61B910EA-E8B3-445B-9D8E-BE2A02949452}" type="parTrans" cxnId="{BB4735D2-FF61-45CD-BF96-1F2F60BD3970}">
      <dgm:prSet/>
      <dgm:spPr/>
    </dgm:pt>
    <dgm:pt modelId="{0DB79B43-740E-4E35-9B74-920E51EF8BC7}" type="sibTrans" cxnId="{BB4735D2-FF61-45CD-BF96-1F2F60BD3970}">
      <dgm:prSet/>
      <dgm:spPr/>
    </dgm:pt>
    <dgm:pt modelId="{62196FB3-3650-42C4-A710-7D0FCA6CD251}">
      <dgm:prSet custT="1"/>
      <dgm:spPr/>
      <dgm:t>
        <a:bodyPr/>
        <a:lstStyle/>
        <a:p>
          <a:pPr>
            <a:lnSpc>
              <a:spcPct val="100000"/>
            </a:lnSpc>
            <a:spcAft>
              <a:spcPts val="1200"/>
            </a:spcAft>
          </a:pPr>
          <a:r>
            <a:rPr lang="en-US" sz="1800" dirty="0" smtClean="0">
              <a:solidFill>
                <a:srgbClr val="002A88"/>
              </a:solidFill>
              <a:latin typeface="+mj-lt"/>
              <a:cs typeface="Segoe UI Semilight" panose="020B0402040204020203" pitchFamily="34" charset="0"/>
            </a:rPr>
            <a:t>Clinical failures</a:t>
          </a:r>
          <a:endParaRPr lang="en-US" sz="2500" dirty="0">
            <a:solidFill>
              <a:schemeClr val="tx2"/>
            </a:solidFill>
            <a:latin typeface="+mj-lt"/>
          </a:endParaRPr>
        </a:p>
      </dgm:t>
    </dgm:pt>
    <dgm:pt modelId="{BE7A5C87-0FBF-441D-848F-2C001A6C5D2A}" type="parTrans" cxnId="{29E2D36E-B6AE-4A82-A0DA-129FF989EB7C}">
      <dgm:prSet/>
      <dgm:spPr/>
    </dgm:pt>
    <dgm:pt modelId="{9D2D45E3-EAC2-4CDA-B866-7A6532FBE0CF}" type="sibTrans" cxnId="{29E2D36E-B6AE-4A82-A0DA-129FF989EB7C}">
      <dgm:prSet/>
      <dgm:spPr/>
    </dgm:pt>
    <dgm:pt modelId="{B1705B4E-3B32-4854-BED6-DD034CCD61A3}" type="pres">
      <dgm:prSet presAssocID="{5EE78B0F-C07D-49E2-911E-95F1801FE48A}" presName="linear" presStyleCnt="0">
        <dgm:presLayoutVars>
          <dgm:animLvl val="lvl"/>
          <dgm:resizeHandles val="exact"/>
        </dgm:presLayoutVars>
      </dgm:prSet>
      <dgm:spPr/>
      <dgm:t>
        <a:bodyPr/>
        <a:lstStyle/>
        <a:p>
          <a:endParaRPr lang="en-US"/>
        </a:p>
      </dgm:t>
    </dgm:pt>
    <dgm:pt modelId="{C0672512-A2E2-43CB-B96C-CF4C96891164}" type="pres">
      <dgm:prSet presAssocID="{10AB865B-6AAF-4B8B-A9A6-9ACF3B2438E9}" presName="parentText" presStyleLbl="node1" presStyleIdx="0" presStyleCnt="1" custLinFactNeighborY="-6399">
        <dgm:presLayoutVars>
          <dgm:chMax val="0"/>
          <dgm:bulletEnabled val="1"/>
        </dgm:presLayoutVars>
      </dgm:prSet>
      <dgm:spPr/>
      <dgm:t>
        <a:bodyPr/>
        <a:lstStyle/>
        <a:p>
          <a:endParaRPr lang="en-US"/>
        </a:p>
      </dgm:t>
    </dgm:pt>
    <dgm:pt modelId="{BC10CFDC-D045-4AC3-A2C3-3A5C7F5B3250}" type="pres">
      <dgm:prSet presAssocID="{10AB865B-6AAF-4B8B-A9A6-9ACF3B2438E9}" presName="childText" presStyleLbl="revTx" presStyleIdx="0" presStyleCnt="1" custScaleX="100000" custScaleY="92767" custLinFactNeighborY="-50405">
        <dgm:presLayoutVars>
          <dgm:bulletEnabled val="1"/>
        </dgm:presLayoutVars>
      </dgm:prSet>
      <dgm:spPr/>
      <dgm:t>
        <a:bodyPr/>
        <a:lstStyle/>
        <a:p>
          <a:endParaRPr lang="en-US"/>
        </a:p>
      </dgm:t>
    </dgm:pt>
  </dgm:ptLst>
  <dgm:cxnLst>
    <dgm:cxn modelId="{74A66DD8-1429-469D-BC9D-0A6F8A7C5C60}" srcId="{10AB865B-6AAF-4B8B-A9A6-9ACF3B2438E9}" destId="{CD4626D5-8CC5-41C9-9063-B845BA922E28}" srcOrd="1" destOrd="0" parTransId="{8097E680-0197-4FFD-A780-A45E1F9EE998}" sibTransId="{518BB191-AD4B-4916-AA4D-8650B4D6006D}"/>
    <dgm:cxn modelId="{4A4005C7-D151-4261-9E00-4F5A8ABECB62}" srcId="{10AB865B-6AAF-4B8B-A9A6-9ACF3B2438E9}" destId="{BF7A3683-CCBA-41BB-8586-8D638FCBE1B1}" srcOrd="5" destOrd="0" parTransId="{541E169B-6AB3-43AD-9576-774B3CAFFB4C}" sibTransId="{C9C0CA69-190C-4BBE-B422-F5B998FBADE8}"/>
    <dgm:cxn modelId="{B6CF1101-CC32-4D01-B40D-7AD6E95150F1}" srcId="{10AB865B-6AAF-4B8B-A9A6-9ACF3B2438E9}" destId="{C9E327F5-011B-4687-8E95-F234C373EF71}" srcOrd="2" destOrd="0" parTransId="{9EE5E42E-5697-42C4-B88D-DE38EB0161A7}" sibTransId="{23B3AC25-CA70-4EA5-A167-670955090B7B}"/>
    <dgm:cxn modelId="{DD6EBC45-6B69-4A31-8700-74A4867CE9AC}" srcId="{10AB865B-6AAF-4B8B-A9A6-9ACF3B2438E9}" destId="{F1DEEE62-FDF7-4465-8DFD-12ECAD17359C}" srcOrd="0" destOrd="0" parTransId="{D58AFEB4-CD26-4E45-8212-8BABC2552F32}" sibTransId="{3DA44AAA-5BFF-4D97-8728-50D3DF578A67}"/>
    <dgm:cxn modelId="{A7682372-DDBF-468C-9309-1C6796C82572}" srcId="{10AB865B-6AAF-4B8B-A9A6-9ACF3B2438E9}" destId="{C0C93E54-74B7-44B7-A15C-B44F04A8F513}" srcOrd="4" destOrd="0" parTransId="{FFE3037D-7869-416E-9013-DF9D18988C39}" sibTransId="{706A2A77-93AF-4DE3-BF21-F4966CCA6EBF}"/>
    <dgm:cxn modelId="{71018181-F6BA-44F6-BB62-7E0C06C73B4B}" type="presOf" srcId="{F1DEEE62-FDF7-4465-8DFD-12ECAD17359C}" destId="{BC10CFDC-D045-4AC3-A2C3-3A5C7F5B3250}" srcOrd="0" destOrd="0" presId="urn:microsoft.com/office/officeart/2005/8/layout/vList2"/>
    <dgm:cxn modelId="{ED4CFAB1-09CF-43C3-B349-33D8C3C89AE6}" type="presOf" srcId="{10AB865B-6AAF-4B8B-A9A6-9ACF3B2438E9}" destId="{C0672512-A2E2-43CB-B96C-CF4C96891164}" srcOrd="0" destOrd="0" presId="urn:microsoft.com/office/officeart/2005/8/layout/vList2"/>
    <dgm:cxn modelId="{5C81177C-22A0-4335-B903-94ACE0C37FDF}" type="presOf" srcId="{C9E327F5-011B-4687-8E95-F234C373EF71}" destId="{BC10CFDC-D045-4AC3-A2C3-3A5C7F5B3250}" srcOrd="0" destOrd="7" presId="urn:microsoft.com/office/officeart/2005/8/layout/vList2"/>
    <dgm:cxn modelId="{BB4735D2-FF61-45CD-BF96-1F2F60BD3970}" srcId="{C9E327F5-011B-4687-8E95-F234C373EF71}" destId="{269AEAF4-82DC-4929-81C3-ED3CB0427C94}" srcOrd="1" destOrd="0" parTransId="{61B910EA-E8B3-445B-9D8E-BE2A02949452}" sibTransId="{0DB79B43-740E-4E35-9B74-920E51EF8BC7}"/>
    <dgm:cxn modelId="{40DBD676-8974-401F-8EA6-BB5B234680CD}" type="presOf" srcId="{269AEAF4-82DC-4929-81C3-ED3CB0427C94}" destId="{BC10CFDC-D045-4AC3-A2C3-3A5C7F5B3250}" srcOrd="0" destOrd="9" presId="urn:microsoft.com/office/officeart/2005/8/layout/vList2"/>
    <dgm:cxn modelId="{65FBCFD2-A8B0-46F5-ABBD-6D671546E912}" type="presOf" srcId="{635122DD-946C-453F-98B3-03C89580F50B}" destId="{BC10CFDC-D045-4AC3-A2C3-3A5C7F5B3250}" srcOrd="0" destOrd="8" presId="urn:microsoft.com/office/officeart/2005/8/layout/vList2"/>
    <dgm:cxn modelId="{AB3A9804-ACA2-49D1-BBDE-BAA2EBD7A60E}" srcId="{CD4626D5-8CC5-41C9-9063-B845BA922E28}" destId="{1E12F7F3-9846-4138-8BB3-7203625A4D4C}" srcOrd="4" destOrd="0" parTransId="{A63A638C-4416-4BFF-A189-38B9186EB8D1}" sibTransId="{EA40081A-AF9A-4F02-8686-B1C45CE53AEF}"/>
    <dgm:cxn modelId="{29E2D36E-B6AE-4A82-A0DA-129FF989EB7C}" srcId="{C9E327F5-011B-4687-8E95-F234C373EF71}" destId="{62196FB3-3650-42C4-A710-7D0FCA6CD251}" srcOrd="2" destOrd="0" parTransId="{BE7A5C87-0FBF-441D-848F-2C001A6C5D2A}" sibTransId="{9D2D45E3-EAC2-4CDA-B866-7A6532FBE0CF}"/>
    <dgm:cxn modelId="{E6B30760-68B4-449A-B62C-DC46E8EFDE90}" type="presOf" srcId="{8CC36D45-BBB9-407E-9B0A-7E1D94831CF1}" destId="{BC10CFDC-D045-4AC3-A2C3-3A5C7F5B3250}" srcOrd="0" destOrd="2" presId="urn:microsoft.com/office/officeart/2005/8/layout/vList2"/>
    <dgm:cxn modelId="{A263E406-09DC-49F3-83D2-7B4758993A09}" srcId="{5EE78B0F-C07D-49E2-911E-95F1801FE48A}" destId="{10AB865B-6AAF-4B8B-A9A6-9ACF3B2438E9}" srcOrd="0" destOrd="0" parTransId="{A7BE3B71-3187-4E24-8A1B-ECECDB86CE3D}" sibTransId="{0116BA1D-D6DE-4D2F-8849-DCAA9B00FF6F}"/>
    <dgm:cxn modelId="{5F92EA09-7718-4ED6-B50D-97916B95C955}" srcId="{CD4626D5-8CC5-41C9-9063-B845BA922E28}" destId="{60DF72B4-946C-4543-8B3D-C5E825E23318}" srcOrd="3" destOrd="0" parTransId="{536A8915-C8FE-4EAB-8C7F-C3A12773D8DC}" sibTransId="{8492CFA3-9285-4117-B46C-E05B2A73ED4C}"/>
    <dgm:cxn modelId="{FCA03D7B-42C6-42E6-9E1F-43AE63443594}" srcId="{CD4626D5-8CC5-41C9-9063-B845BA922E28}" destId="{2649AA85-C877-4B09-B192-DC10CC30478C}" srcOrd="2" destOrd="0" parTransId="{71349299-676C-4AFD-B4C5-E67EF4CE009D}" sibTransId="{15CF3744-AD5E-4130-9DD0-11A2B47C4FAF}"/>
    <dgm:cxn modelId="{AFD13ADA-BDFF-4055-A6F8-BEC74D8CD149}" type="presOf" srcId="{2649AA85-C877-4B09-B192-DC10CC30478C}" destId="{BC10CFDC-D045-4AC3-A2C3-3A5C7F5B3250}" srcOrd="0" destOrd="4" presId="urn:microsoft.com/office/officeart/2005/8/layout/vList2"/>
    <dgm:cxn modelId="{F695F281-A07D-4AA1-A588-D55103379023}" srcId="{10AB865B-6AAF-4B8B-A9A6-9ACF3B2438E9}" destId="{01586762-0386-47F9-8300-9B2EA124E66E}" srcOrd="3" destOrd="0" parTransId="{614652D2-85F4-4296-87A9-8A406AF59A4A}" sibTransId="{9DA11FBB-824D-4652-9590-4593341F624B}"/>
    <dgm:cxn modelId="{7E28C9F1-4B34-4467-95D6-D62ABD2C2358}" type="presOf" srcId="{BA34B4AB-BB10-44F6-97D3-4D7B82ACB185}" destId="{BC10CFDC-D045-4AC3-A2C3-3A5C7F5B3250}" srcOrd="0" destOrd="3" presId="urn:microsoft.com/office/officeart/2005/8/layout/vList2"/>
    <dgm:cxn modelId="{3042690D-0F7F-41FE-9401-9F27D21AD40D}" srcId="{CD4626D5-8CC5-41C9-9063-B845BA922E28}" destId="{8CC36D45-BBB9-407E-9B0A-7E1D94831CF1}" srcOrd="0" destOrd="0" parTransId="{F35A4907-FAA7-4D86-8F2F-F9D3C40FD3A9}" sibTransId="{F050E578-53F1-462F-BDD0-DE58EFBEBF96}"/>
    <dgm:cxn modelId="{881279AB-EB77-4F9B-BC33-12602A278C7C}" type="presOf" srcId="{BF7A3683-CCBA-41BB-8586-8D638FCBE1B1}" destId="{BC10CFDC-D045-4AC3-A2C3-3A5C7F5B3250}" srcOrd="0" destOrd="13" presId="urn:microsoft.com/office/officeart/2005/8/layout/vList2"/>
    <dgm:cxn modelId="{FAA55125-D260-440A-8327-34B2A9CDB44C}" type="presOf" srcId="{5EE78B0F-C07D-49E2-911E-95F1801FE48A}" destId="{B1705B4E-3B32-4854-BED6-DD034CCD61A3}" srcOrd="0" destOrd="0" presId="urn:microsoft.com/office/officeart/2005/8/layout/vList2"/>
    <dgm:cxn modelId="{356D6B7E-904D-4C60-9CC9-ABBE73757F48}" type="presOf" srcId="{CD4626D5-8CC5-41C9-9063-B845BA922E28}" destId="{BC10CFDC-D045-4AC3-A2C3-3A5C7F5B3250}" srcOrd="0" destOrd="1" presId="urn:microsoft.com/office/officeart/2005/8/layout/vList2"/>
    <dgm:cxn modelId="{A5CF1D8A-BDDA-4766-9725-69B7E95F3D0C}" srcId="{CD4626D5-8CC5-41C9-9063-B845BA922E28}" destId="{BA34B4AB-BB10-44F6-97D3-4D7B82ACB185}" srcOrd="1" destOrd="0" parTransId="{F83ADCB3-658E-413C-9C93-152766514913}" sibTransId="{60D1976D-F65E-41E6-A7EE-C246655ED1EB}"/>
    <dgm:cxn modelId="{E6B15286-5004-49EB-9A19-C383D19FF7AB}" type="presOf" srcId="{01586762-0386-47F9-8300-9B2EA124E66E}" destId="{BC10CFDC-D045-4AC3-A2C3-3A5C7F5B3250}" srcOrd="0" destOrd="11" presId="urn:microsoft.com/office/officeart/2005/8/layout/vList2"/>
    <dgm:cxn modelId="{BD6C6F40-CB1F-4C0D-A2CD-5E30D53CBC9B}" type="presOf" srcId="{62196FB3-3650-42C4-A710-7D0FCA6CD251}" destId="{BC10CFDC-D045-4AC3-A2C3-3A5C7F5B3250}" srcOrd="0" destOrd="10" presId="urn:microsoft.com/office/officeart/2005/8/layout/vList2"/>
    <dgm:cxn modelId="{3E2EBCE6-12AB-479A-BE49-29C8AF088877}" type="presOf" srcId="{1E12F7F3-9846-4138-8BB3-7203625A4D4C}" destId="{BC10CFDC-D045-4AC3-A2C3-3A5C7F5B3250}" srcOrd="0" destOrd="6" presId="urn:microsoft.com/office/officeart/2005/8/layout/vList2"/>
    <dgm:cxn modelId="{9A2D25F8-2D52-415F-89C5-355509188B4A}" srcId="{C9E327F5-011B-4687-8E95-F234C373EF71}" destId="{635122DD-946C-453F-98B3-03C89580F50B}" srcOrd="0" destOrd="0" parTransId="{64A5076E-1186-4919-96FE-73244FD4B2BC}" sibTransId="{33C7EC08-658C-41C3-94C4-C8D79366AB0A}"/>
    <dgm:cxn modelId="{CE45B980-F483-476E-B223-5AB10C71E954}" type="presOf" srcId="{C0C93E54-74B7-44B7-A15C-B44F04A8F513}" destId="{BC10CFDC-D045-4AC3-A2C3-3A5C7F5B3250}" srcOrd="0" destOrd="12" presId="urn:microsoft.com/office/officeart/2005/8/layout/vList2"/>
    <dgm:cxn modelId="{7FC137AF-DA10-4277-9B16-E55626B1C719}" type="presOf" srcId="{60DF72B4-946C-4543-8B3D-C5E825E23318}" destId="{BC10CFDC-D045-4AC3-A2C3-3A5C7F5B3250}" srcOrd="0" destOrd="5" presId="urn:microsoft.com/office/officeart/2005/8/layout/vList2"/>
    <dgm:cxn modelId="{AF8626CE-AA13-4DDB-AB30-F6CC6E402F7B}" type="presParOf" srcId="{B1705B4E-3B32-4854-BED6-DD034CCD61A3}" destId="{C0672512-A2E2-43CB-B96C-CF4C96891164}" srcOrd="0" destOrd="0" presId="urn:microsoft.com/office/officeart/2005/8/layout/vList2"/>
    <dgm:cxn modelId="{B3B3F32B-280C-46D1-B950-D3EBAB0BBF33}" type="presParOf" srcId="{B1705B4E-3B32-4854-BED6-DD034CCD61A3}" destId="{BC10CFDC-D045-4AC3-A2C3-3A5C7F5B3250}"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EE78B0F-C07D-49E2-911E-95F1801FE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0AB865B-6AAF-4B8B-A9A6-9ACF3B2438E9}">
      <dgm:prSet phldrT="[Text]" custT="1"/>
      <dgm:spPr/>
      <dgm:t>
        <a:bodyPr/>
        <a:lstStyle/>
        <a:p>
          <a:r>
            <a:rPr lang="en-US" sz="3000" dirty="0" smtClean="0"/>
            <a:t>Follow-Up System Failures: Risk Considerations</a:t>
          </a:r>
          <a:endParaRPr lang="en-US" sz="3000" dirty="0"/>
        </a:p>
      </dgm:t>
    </dgm:pt>
    <dgm:pt modelId="{A7BE3B71-3187-4E24-8A1B-ECECDB86CE3D}" type="parTrans" cxnId="{A263E406-09DC-49F3-83D2-7B4758993A09}">
      <dgm:prSet/>
      <dgm:spPr/>
      <dgm:t>
        <a:bodyPr/>
        <a:lstStyle/>
        <a:p>
          <a:endParaRPr lang="en-US" sz="2400"/>
        </a:p>
      </dgm:t>
    </dgm:pt>
    <dgm:pt modelId="{0116BA1D-D6DE-4D2F-8849-DCAA9B00FF6F}" type="sibTrans" cxnId="{A263E406-09DC-49F3-83D2-7B4758993A09}">
      <dgm:prSet/>
      <dgm:spPr/>
      <dgm:t>
        <a:bodyPr/>
        <a:lstStyle/>
        <a:p>
          <a:endParaRPr lang="en-US" sz="2400"/>
        </a:p>
      </dgm:t>
    </dgm:pt>
    <dgm:pt modelId="{F1DEEE62-FDF7-4465-8DFD-12ECAD17359C}">
      <dgm:prSet custT="1"/>
      <dgm:spPr/>
      <dgm:t>
        <a:bodyPr/>
        <a:lstStyle/>
        <a:p>
          <a:pPr>
            <a:lnSpc>
              <a:spcPct val="100000"/>
            </a:lnSpc>
            <a:spcAft>
              <a:spcPts val="1200"/>
            </a:spcAft>
          </a:pPr>
          <a:endParaRPr lang="en-US" sz="2400" dirty="0">
            <a:solidFill>
              <a:schemeClr val="tx2"/>
            </a:solidFill>
          </a:endParaRPr>
        </a:p>
      </dgm:t>
    </dgm:pt>
    <dgm:pt modelId="{D58AFEB4-CD26-4E45-8212-8BABC2552F32}" type="parTrans" cxnId="{DD6EBC45-6B69-4A31-8700-74A4867CE9AC}">
      <dgm:prSet/>
      <dgm:spPr/>
      <dgm:t>
        <a:bodyPr/>
        <a:lstStyle/>
        <a:p>
          <a:endParaRPr lang="en-US"/>
        </a:p>
      </dgm:t>
    </dgm:pt>
    <dgm:pt modelId="{3DA44AAA-5BFF-4D97-8728-50D3DF578A67}" type="sibTrans" cxnId="{DD6EBC45-6B69-4A31-8700-74A4867CE9AC}">
      <dgm:prSet/>
      <dgm:spPr/>
      <dgm:t>
        <a:bodyPr/>
        <a:lstStyle/>
        <a:p>
          <a:endParaRPr lang="en-US"/>
        </a:p>
      </dgm:t>
    </dgm:pt>
    <dgm:pt modelId="{BF7A3683-CCBA-41BB-8586-8D638FCBE1B1}">
      <dgm:prSet custT="1"/>
      <dgm:spPr/>
      <dgm:t>
        <a:bodyPr/>
        <a:lstStyle/>
        <a:p>
          <a:pPr>
            <a:lnSpc>
              <a:spcPct val="100000"/>
            </a:lnSpc>
            <a:spcAft>
              <a:spcPts val="1200"/>
            </a:spcAft>
          </a:pPr>
          <a:endParaRPr lang="en-US" sz="1800" dirty="0">
            <a:solidFill>
              <a:schemeClr val="tx2"/>
            </a:solidFill>
            <a:latin typeface="+mj-lt"/>
          </a:endParaRPr>
        </a:p>
      </dgm:t>
    </dgm:pt>
    <dgm:pt modelId="{541E169B-6AB3-43AD-9576-774B3CAFFB4C}" type="parTrans" cxnId="{4A4005C7-D151-4261-9E00-4F5A8ABECB62}">
      <dgm:prSet/>
      <dgm:spPr/>
      <dgm:t>
        <a:bodyPr/>
        <a:lstStyle/>
        <a:p>
          <a:endParaRPr lang="en-US"/>
        </a:p>
      </dgm:t>
    </dgm:pt>
    <dgm:pt modelId="{C9C0CA69-190C-4BBE-B422-F5B998FBADE8}" type="sibTrans" cxnId="{4A4005C7-D151-4261-9E00-4F5A8ABECB62}">
      <dgm:prSet/>
      <dgm:spPr/>
      <dgm:t>
        <a:bodyPr/>
        <a:lstStyle/>
        <a:p>
          <a:endParaRPr lang="en-US"/>
        </a:p>
      </dgm:t>
    </dgm:pt>
    <dgm:pt modelId="{CD4626D5-8CC5-41C9-9063-B845BA922E28}">
      <dgm:prSet custT="1"/>
      <dgm:spPr/>
      <dgm:t>
        <a:bodyPr/>
        <a:lstStyle/>
        <a:p>
          <a:pPr>
            <a:lnSpc>
              <a:spcPct val="100000"/>
            </a:lnSpc>
            <a:spcAft>
              <a:spcPts val="1200"/>
            </a:spcAft>
          </a:pPr>
          <a:r>
            <a:rPr lang="en-US" sz="2500" dirty="0" smtClean="0">
              <a:solidFill>
                <a:schemeClr val="tx2"/>
              </a:solidFill>
              <a:latin typeface="+mj-lt"/>
            </a:rPr>
            <a:t>No news is </a:t>
          </a:r>
          <a:r>
            <a:rPr lang="en-US" sz="2500" b="1" dirty="0" smtClean="0">
              <a:solidFill>
                <a:schemeClr val="tx2"/>
              </a:solidFill>
              <a:latin typeface="+mj-lt"/>
            </a:rPr>
            <a:t>NO NEWS</a:t>
          </a:r>
          <a:r>
            <a:rPr lang="en-US" sz="2500" b="0" dirty="0" smtClean="0">
              <a:solidFill>
                <a:schemeClr val="tx2"/>
              </a:solidFill>
              <a:latin typeface="+mj-lt"/>
            </a:rPr>
            <a:t>.</a:t>
          </a:r>
          <a:endParaRPr lang="en-US" sz="2500" dirty="0">
            <a:solidFill>
              <a:schemeClr val="tx2"/>
            </a:solidFill>
            <a:latin typeface="+mj-lt"/>
          </a:endParaRPr>
        </a:p>
      </dgm:t>
    </dgm:pt>
    <dgm:pt modelId="{8097E680-0197-4FFD-A780-A45E1F9EE998}" type="parTrans" cxnId="{74A66DD8-1429-469D-BC9D-0A6F8A7C5C60}">
      <dgm:prSet/>
      <dgm:spPr/>
      <dgm:t>
        <a:bodyPr/>
        <a:lstStyle/>
        <a:p>
          <a:endParaRPr lang="en-US"/>
        </a:p>
      </dgm:t>
    </dgm:pt>
    <dgm:pt modelId="{518BB191-AD4B-4916-AA4D-8650B4D6006D}" type="sibTrans" cxnId="{74A66DD8-1429-469D-BC9D-0A6F8A7C5C60}">
      <dgm:prSet/>
      <dgm:spPr/>
      <dgm:t>
        <a:bodyPr/>
        <a:lstStyle/>
        <a:p>
          <a:endParaRPr lang="en-US"/>
        </a:p>
      </dgm:t>
    </dgm:pt>
    <dgm:pt modelId="{C0C93E54-74B7-44B7-A15C-B44F04A8F513}">
      <dgm:prSet custT="1"/>
      <dgm:spPr/>
      <dgm:t>
        <a:bodyPr/>
        <a:lstStyle/>
        <a:p>
          <a:pPr>
            <a:lnSpc>
              <a:spcPct val="100000"/>
            </a:lnSpc>
            <a:spcAft>
              <a:spcPts val="1200"/>
            </a:spcAft>
          </a:pPr>
          <a:endParaRPr lang="en-US" sz="2500" dirty="0">
            <a:solidFill>
              <a:schemeClr val="accent1"/>
            </a:solidFill>
            <a:latin typeface="+mj-lt"/>
          </a:endParaRPr>
        </a:p>
      </dgm:t>
    </dgm:pt>
    <dgm:pt modelId="{FFE3037D-7869-416E-9013-DF9D18988C39}" type="parTrans" cxnId="{A7682372-DDBF-468C-9309-1C6796C82572}">
      <dgm:prSet/>
      <dgm:spPr/>
      <dgm:t>
        <a:bodyPr/>
        <a:lstStyle/>
        <a:p>
          <a:endParaRPr lang="en-US"/>
        </a:p>
      </dgm:t>
    </dgm:pt>
    <dgm:pt modelId="{706A2A77-93AF-4DE3-BF21-F4966CCA6EBF}" type="sibTrans" cxnId="{A7682372-DDBF-468C-9309-1C6796C82572}">
      <dgm:prSet/>
      <dgm:spPr/>
      <dgm:t>
        <a:bodyPr/>
        <a:lstStyle/>
        <a:p>
          <a:endParaRPr lang="en-US"/>
        </a:p>
      </dgm:t>
    </dgm:pt>
    <dgm:pt modelId="{01586762-0386-47F9-8300-9B2EA124E66E}">
      <dgm:prSet custT="1"/>
      <dgm:spPr/>
      <dgm:t>
        <a:bodyPr/>
        <a:lstStyle/>
        <a:p>
          <a:pPr>
            <a:lnSpc>
              <a:spcPct val="100000"/>
            </a:lnSpc>
            <a:spcAft>
              <a:spcPts val="1200"/>
            </a:spcAft>
          </a:pPr>
          <a:endParaRPr lang="en-US" sz="1800" dirty="0">
            <a:solidFill>
              <a:schemeClr val="accent1"/>
            </a:solidFill>
            <a:latin typeface="+mj-lt"/>
          </a:endParaRPr>
        </a:p>
      </dgm:t>
    </dgm:pt>
    <dgm:pt modelId="{614652D2-85F4-4296-87A9-8A406AF59A4A}" type="parTrans" cxnId="{F695F281-A07D-4AA1-A588-D55103379023}">
      <dgm:prSet/>
      <dgm:spPr/>
      <dgm:t>
        <a:bodyPr/>
        <a:lstStyle/>
        <a:p>
          <a:endParaRPr lang="en-US"/>
        </a:p>
      </dgm:t>
    </dgm:pt>
    <dgm:pt modelId="{9DA11FBB-824D-4652-9590-4593341F624B}" type="sibTrans" cxnId="{F695F281-A07D-4AA1-A588-D55103379023}">
      <dgm:prSet/>
      <dgm:spPr/>
      <dgm:t>
        <a:bodyPr/>
        <a:lstStyle/>
        <a:p>
          <a:endParaRPr lang="en-US"/>
        </a:p>
      </dgm:t>
    </dgm:pt>
    <dgm:pt modelId="{0A05F493-3BAD-4D26-9041-1CCA4F8968ED}">
      <dgm:prSet custT="1"/>
      <dgm:spPr/>
      <dgm:t>
        <a:bodyPr/>
        <a:lstStyle/>
        <a:p>
          <a:pPr>
            <a:lnSpc>
              <a:spcPct val="100000"/>
            </a:lnSpc>
            <a:spcAft>
              <a:spcPts val="1200"/>
            </a:spcAft>
          </a:pPr>
          <a:endParaRPr lang="en-US" sz="2500" dirty="0">
            <a:solidFill>
              <a:schemeClr val="tx2"/>
            </a:solidFill>
            <a:latin typeface="+mj-lt"/>
          </a:endParaRPr>
        </a:p>
      </dgm:t>
    </dgm:pt>
    <dgm:pt modelId="{EEA44D57-1B91-47CF-A555-5895E805C6F5}" type="parTrans" cxnId="{FC8A7C83-06CC-46D1-877E-90E69A04FDE5}">
      <dgm:prSet/>
      <dgm:spPr/>
    </dgm:pt>
    <dgm:pt modelId="{2532D008-D07D-48A6-8152-E309501EEE92}" type="sibTrans" cxnId="{FC8A7C83-06CC-46D1-877E-90E69A04FDE5}">
      <dgm:prSet/>
      <dgm:spPr/>
    </dgm:pt>
    <dgm:pt modelId="{0703A159-4F5A-4F64-A038-7F5B7732E1D2}">
      <dgm:prSet custT="1"/>
      <dgm:spPr/>
      <dgm:t>
        <a:bodyPr/>
        <a:lstStyle/>
        <a:p>
          <a:pPr>
            <a:lnSpc>
              <a:spcPct val="100000"/>
            </a:lnSpc>
            <a:spcAft>
              <a:spcPts val="1200"/>
            </a:spcAft>
          </a:pPr>
          <a:r>
            <a:rPr lang="en-US" sz="2500" dirty="0" smtClean="0">
              <a:solidFill>
                <a:schemeClr val="tx2"/>
              </a:solidFill>
              <a:latin typeface="+mj-lt"/>
            </a:rPr>
            <a:t>Utilize your patient as your last line of defense</a:t>
          </a:r>
          <a:endParaRPr lang="en-US" sz="2500" dirty="0">
            <a:solidFill>
              <a:schemeClr val="tx2"/>
            </a:solidFill>
            <a:latin typeface="+mj-lt"/>
          </a:endParaRPr>
        </a:p>
      </dgm:t>
    </dgm:pt>
    <dgm:pt modelId="{C376D0CF-CC06-436F-9840-BA84C56A3E88}" type="parTrans" cxnId="{C422A0E7-B5FC-42C6-ADC8-D951FF9A30B4}">
      <dgm:prSet/>
      <dgm:spPr/>
    </dgm:pt>
    <dgm:pt modelId="{FC8B4532-C108-4806-8A3D-1CEF7027814A}" type="sibTrans" cxnId="{C422A0E7-B5FC-42C6-ADC8-D951FF9A30B4}">
      <dgm:prSet/>
      <dgm:spPr/>
    </dgm:pt>
    <dgm:pt modelId="{681BBCFD-AA69-4F65-ACD2-2F20C33FCBA3}">
      <dgm:prSet custT="1"/>
      <dgm:spPr/>
      <dgm:t>
        <a:bodyPr/>
        <a:lstStyle/>
        <a:p>
          <a:pPr>
            <a:lnSpc>
              <a:spcPct val="100000"/>
            </a:lnSpc>
            <a:spcAft>
              <a:spcPts val="1200"/>
            </a:spcAft>
          </a:pPr>
          <a:r>
            <a:rPr lang="en-US" sz="2500" dirty="0" smtClean="0">
              <a:solidFill>
                <a:schemeClr val="tx2"/>
              </a:solidFill>
              <a:latin typeface="+mj-lt"/>
            </a:rPr>
            <a:t>Staff engagement and responsibility is </a:t>
          </a:r>
          <a:r>
            <a:rPr lang="en-US" sz="2500" dirty="0" err="1" smtClean="0">
              <a:solidFill>
                <a:schemeClr val="tx2"/>
              </a:solidFill>
              <a:latin typeface="+mj-lt"/>
            </a:rPr>
            <a:t>imerpative</a:t>
          </a:r>
          <a:endParaRPr lang="en-US" sz="2500" dirty="0">
            <a:solidFill>
              <a:schemeClr val="tx2"/>
            </a:solidFill>
            <a:latin typeface="+mj-lt"/>
          </a:endParaRPr>
        </a:p>
      </dgm:t>
    </dgm:pt>
    <dgm:pt modelId="{76C068F6-05B7-432A-B857-6E6982E6A5F9}" type="parTrans" cxnId="{41EB82D3-F683-46CF-AB99-2EC5452E361D}">
      <dgm:prSet/>
      <dgm:spPr/>
    </dgm:pt>
    <dgm:pt modelId="{A5DA3603-050F-48EE-B1FF-21B354B6DA9D}" type="sibTrans" cxnId="{41EB82D3-F683-46CF-AB99-2EC5452E361D}">
      <dgm:prSet/>
      <dgm:spPr/>
    </dgm:pt>
    <dgm:pt modelId="{39DDC263-D390-4731-A70C-B42E884D3186}">
      <dgm:prSet custT="1"/>
      <dgm:spPr/>
      <dgm:t>
        <a:bodyPr/>
        <a:lstStyle/>
        <a:p>
          <a:pPr>
            <a:lnSpc>
              <a:spcPct val="100000"/>
            </a:lnSpc>
            <a:spcAft>
              <a:spcPts val="1200"/>
            </a:spcAft>
          </a:pPr>
          <a:r>
            <a:rPr lang="en-US" altLang="en-US" sz="1800" dirty="0" smtClean="0">
              <a:solidFill>
                <a:srgbClr val="002A88"/>
              </a:solidFill>
              <a:cs typeface="Helvetica Neue"/>
            </a:rPr>
            <a:t>Try to stay away from: “If you haven’t heard from us by…”</a:t>
          </a:r>
          <a:endParaRPr lang="en-US" sz="1800" dirty="0">
            <a:solidFill>
              <a:schemeClr val="tx2"/>
            </a:solidFill>
            <a:latin typeface="+mj-lt"/>
          </a:endParaRPr>
        </a:p>
      </dgm:t>
    </dgm:pt>
    <dgm:pt modelId="{662A7352-3123-4AFF-BE6E-33BBE8FB66CF}" type="parTrans" cxnId="{BE68D85B-7E66-43B5-A64B-BBF9EECB752F}">
      <dgm:prSet/>
      <dgm:spPr/>
    </dgm:pt>
    <dgm:pt modelId="{D08BAEDB-7AA3-44EA-8E96-AFDD7E0C1E5A}" type="sibTrans" cxnId="{BE68D85B-7E66-43B5-A64B-BBF9EECB752F}">
      <dgm:prSet/>
      <dgm:spPr/>
    </dgm:pt>
    <dgm:pt modelId="{54445E89-1261-46E8-9186-6CC720FA1730}">
      <dgm:prSet custT="1"/>
      <dgm:spPr/>
      <dgm:t>
        <a:bodyPr/>
        <a:lstStyle/>
        <a:p>
          <a:pPr>
            <a:lnSpc>
              <a:spcPct val="100000"/>
            </a:lnSpc>
            <a:spcAft>
              <a:spcPts val="1200"/>
            </a:spcAft>
          </a:pPr>
          <a:r>
            <a:rPr lang="en-US" sz="1800" dirty="0" smtClean="0">
              <a:solidFill>
                <a:schemeClr val="tx2"/>
              </a:solidFill>
              <a:latin typeface="+mj-lt"/>
            </a:rPr>
            <a:t>Practice needs to take responsibility and set communication + appointment follow-up's.</a:t>
          </a:r>
          <a:endParaRPr lang="en-US" sz="1800" dirty="0">
            <a:solidFill>
              <a:schemeClr val="tx2"/>
            </a:solidFill>
            <a:latin typeface="+mj-lt"/>
          </a:endParaRPr>
        </a:p>
      </dgm:t>
    </dgm:pt>
    <dgm:pt modelId="{6D1552F9-F47E-48D0-BCEA-9954667702BE}" type="parTrans" cxnId="{262046D7-4708-460E-8F7D-767F911215FF}">
      <dgm:prSet/>
      <dgm:spPr/>
    </dgm:pt>
    <dgm:pt modelId="{6706ED67-882D-44E5-B8D7-2C96203B2E4A}" type="sibTrans" cxnId="{262046D7-4708-460E-8F7D-767F911215FF}">
      <dgm:prSet/>
      <dgm:spPr/>
    </dgm:pt>
    <dgm:pt modelId="{A6736215-677A-4399-9E7D-039BB52B9845}">
      <dgm:prSet custT="1"/>
      <dgm:spPr/>
      <dgm:t>
        <a:bodyPr/>
        <a:lstStyle/>
        <a:p>
          <a:pPr>
            <a:lnSpc>
              <a:spcPct val="100000"/>
            </a:lnSpc>
            <a:spcAft>
              <a:spcPts val="1200"/>
            </a:spcAft>
          </a:pPr>
          <a:r>
            <a:rPr lang="en-US" altLang="en-US" sz="1800" dirty="0" smtClean="0">
              <a:solidFill>
                <a:srgbClr val="002A88"/>
              </a:solidFill>
            </a:rPr>
            <a:t>But all "negatives" must be brought to dentist's attention; </a:t>
          </a:r>
          <a:r>
            <a:rPr lang="en-US" altLang="en-US" sz="1800" u="sng" dirty="0" smtClean="0">
              <a:solidFill>
                <a:srgbClr val="002A88"/>
              </a:solidFill>
            </a:rPr>
            <a:t>no medical/dental advice from staff to patient … EVER!</a:t>
          </a:r>
          <a:endParaRPr lang="en-US" sz="1800" dirty="0">
            <a:solidFill>
              <a:schemeClr val="tx2"/>
            </a:solidFill>
            <a:latin typeface="+mj-lt"/>
          </a:endParaRPr>
        </a:p>
      </dgm:t>
    </dgm:pt>
    <dgm:pt modelId="{4D24C2C3-3113-40C7-88EB-16DF954D5156}" type="parTrans" cxnId="{2CBE1E10-0B81-4D3E-8B8A-D00A6C5E6C57}">
      <dgm:prSet/>
      <dgm:spPr/>
    </dgm:pt>
    <dgm:pt modelId="{8A027822-94FB-455F-92DE-5BBA90D2A0F1}" type="sibTrans" cxnId="{2CBE1E10-0B81-4D3E-8B8A-D00A6C5E6C57}">
      <dgm:prSet/>
      <dgm:spPr/>
    </dgm:pt>
    <dgm:pt modelId="{460FB018-D043-4CD6-985D-14AC769054BC}">
      <dgm:prSet custT="1"/>
      <dgm:spPr/>
      <dgm:t>
        <a:bodyPr/>
        <a:lstStyle/>
        <a:p>
          <a:pPr>
            <a:lnSpc>
              <a:spcPct val="100000"/>
            </a:lnSpc>
            <a:spcAft>
              <a:spcPts val="1200"/>
            </a:spcAft>
          </a:pPr>
          <a:endParaRPr lang="en-US" sz="2500" dirty="0">
            <a:solidFill>
              <a:schemeClr val="tx2"/>
            </a:solidFill>
            <a:latin typeface="+mj-lt"/>
          </a:endParaRPr>
        </a:p>
      </dgm:t>
    </dgm:pt>
    <dgm:pt modelId="{9F9B27CA-DE98-464B-8190-B8640D9DEF06}" type="parTrans" cxnId="{6318DD5B-CE81-4E9B-B351-0E04EEC1BA40}">
      <dgm:prSet/>
      <dgm:spPr/>
    </dgm:pt>
    <dgm:pt modelId="{A28C860C-A5F6-47F7-93BB-D1BEB400D705}" type="sibTrans" cxnId="{6318DD5B-CE81-4E9B-B351-0E04EEC1BA40}">
      <dgm:prSet/>
      <dgm:spPr/>
    </dgm:pt>
    <dgm:pt modelId="{B1705B4E-3B32-4854-BED6-DD034CCD61A3}" type="pres">
      <dgm:prSet presAssocID="{5EE78B0F-C07D-49E2-911E-95F1801FE48A}" presName="linear" presStyleCnt="0">
        <dgm:presLayoutVars>
          <dgm:animLvl val="lvl"/>
          <dgm:resizeHandles val="exact"/>
        </dgm:presLayoutVars>
      </dgm:prSet>
      <dgm:spPr/>
      <dgm:t>
        <a:bodyPr/>
        <a:lstStyle/>
        <a:p>
          <a:endParaRPr lang="en-US"/>
        </a:p>
      </dgm:t>
    </dgm:pt>
    <dgm:pt modelId="{C0672512-A2E2-43CB-B96C-CF4C96891164}" type="pres">
      <dgm:prSet presAssocID="{10AB865B-6AAF-4B8B-A9A6-9ACF3B2438E9}" presName="parentText" presStyleLbl="node1" presStyleIdx="0" presStyleCnt="1" custLinFactNeighborY="-6399">
        <dgm:presLayoutVars>
          <dgm:chMax val="0"/>
          <dgm:bulletEnabled val="1"/>
        </dgm:presLayoutVars>
      </dgm:prSet>
      <dgm:spPr/>
      <dgm:t>
        <a:bodyPr/>
        <a:lstStyle/>
        <a:p>
          <a:endParaRPr lang="en-US"/>
        </a:p>
      </dgm:t>
    </dgm:pt>
    <dgm:pt modelId="{BC10CFDC-D045-4AC3-A2C3-3A5C7F5B3250}" type="pres">
      <dgm:prSet presAssocID="{10AB865B-6AAF-4B8B-A9A6-9ACF3B2438E9}" presName="childText" presStyleLbl="revTx" presStyleIdx="0" presStyleCnt="1" custScaleX="100000" custScaleY="92767" custLinFactNeighborY="-50405">
        <dgm:presLayoutVars>
          <dgm:bulletEnabled val="1"/>
        </dgm:presLayoutVars>
      </dgm:prSet>
      <dgm:spPr/>
      <dgm:t>
        <a:bodyPr/>
        <a:lstStyle/>
        <a:p>
          <a:endParaRPr lang="en-US"/>
        </a:p>
      </dgm:t>
    </dgm:pt>
  </dgm:ptLst>
  <dgm:cxnLst>
    <dgm:cxn modelId="{74A66DD8-1429-469D-BC9D-0A6F8A7C5C60}" srcId="{10AB865B-6AAF-4B8B-A9A6-9ACF3B2438E9}" destId="{CD4626D5-8CC5-41C9-9063-B845BA922E28}" srcOrd="2" destOrd="0" parTransId="{8097E680-0197-4FFD-A780-A45E1F9EE998}" sibTransId="{518BB191-AD4B-4916-AA4D-8650B4D6006D}"/>
    <dgm:cxn modelId="{4A4005C7-D151-4261-9E00-4F5A8ABECB62}" srcId="{10AB865B-6AAF-4B8B-A9A6-9ACF3B2438E9}" destId="{BF7A3683-CCBA-41BB-8586-8D638FCBE1B1}" srcOrd="8" destOrd="0" parTransId="{541E169B-6AB3-43AD-9576-774B3CAFFB4C}" sibTransId="{C9C0CA69-190C-4BBE-B422-F5B998FBADE8}"/>
    <dgm:cxn modelId="{C422A0E7-B5FC-42C6-ADC8-D951FF9A30B4}" srcId="{10AB865B-6AAF-4B8B-A9A6-9ACF3B2438E9}" destId="{0703A159-4F5A-4F64-A038-7F5B7732E1D2}" srcOrd="3" destOrd="0" parTransId="{C376D0CF-CC06-436F-9840-BA84C56A3E88}" sibTransId="{FC8B4532-C108-4806-8A3D-1CEF7027814A}"/>
    <dgm:cxn modelId="{DD6EBC45-6B69-4A31-8700-74A4867CE9AC}" srcId="{10AB865B-6AAF-4B8B-A9A6-9ACF3B2438E9}" destId="{F1DEEE62-FDF7-4465-8DFD-12ECAD17359C}" srcOrd="0" destOrd="0" parTransId="{D58AFEB4-CD26-4E45-8212-8BABC2552F32}" sibTransId="{3DA44AAA-5BFF-4D97-8728-50D3DF578A67}"/>
    <dgm:cxn modelId="{ED4CFAB1-09CF-43C3-B349-33D8C3C89AE6}" type="presOf" srcId="{10AB865B-6AAF-4B8B-A9A6-9ACF3B2438E9}" destId="{C0672512-A2E2-43CB-B96C-CF4C96891164}" srcOrd="0" destOrd="0" presId="urn:microsoft.com/office/officeart/2005/8/layout/vList2"/>
    <dgm:cxn modelId="{71018181-F6BA-44F6-BB62-7E0C06C73B4B}" type="presOf" srcId="{F1DEEE62-FDF7-4465-8DFD-12ECAD17359C}" destId="{BC10CFDC-D045-4AC3-A2C3-3A5C7F5B3250}" srcOrd="0" destOrd="0" presId="urn:microsoft.com/office/officeart/2005/8/layout/vList2"/>
    <dgm:cxn modelId="{A7682372-DDBF-468C-9309-1C6796C82572}" srcId="{10AB865B-6AAF-4B8B-A9A6-9ACF3B2438E9}" destId="{C0C93E54-74B7-44B7-A15C-B44F04A8F513}" srcOrd="7" destOrd="0" parTransId="{FFE3037D-7869-416E-9013-DF9D18988C39}" sibTransId="{706A2A77-93AF-4DE3-BF21-F4966CCA6EBF}"/>
    <dgm:cxn modelId="{262046D7-4708-460E-8F7D-767F911215FF}" srcId="{0703A159-4F5A-4F64-A038-7F5B7732E1D2}" destId="{54445E89-1261-46E8-9186-6CC720FA1730}" srcOrd="0" destOrd="0" parTransId="{6D1552F9-F47E-48D0-BCEA-9954667702BE}" sibTransId="{6706ED67-882D-44E5-B8D7-2C96203B2E4A}"/>
    <dgm:cxn modelId="{6318DD5B-CE81-4E9B-B351-0E04EEC1BA40}" srcId="{10AB865B-6AAF-4B8B-A9A6-9ACF3B2438E9}" destId="{460FB018-D043-4CD6-985D-14AC769054BC}" srcOrd="1" destOrd="0" parTransId="{9F9B27CA-DE98-464B-8190-B8640D9DEF06}" sibTransId="{A28C860C-A5F6-47F7-93BB-D1BEB400D705}"/>
    <dgm:cxn modelId="{2CBE1E10-0B81-4D3E-8B8A-D00A6C5E6C57}" srcId="{681BBCFD-AA69-4F65-ACD2-2F20C33FCBA3}" destId="{A6736215-677A-4399-9E7D-039BB52B9845}" srcOrd="0" destOrd="0" parTransId="{4D24C2C3-3113-40C7-88EB-16DF954D5156}" sibTransId="{8A027822-94FB-455F-92DE-5BBA90D2A0F1}"/>
    <dgm:cxn modelId="{C2AA7F29-E4DB-49AF-A1A1-118F7F052C56}" type="presOf" srcId="{0A05F493-3BAD-4D26-9041-1CCA4F8968ED}" destId="{BC10CFDC-D045-4AC3-A2C3-3A5C7F5B3250}" srcOrd="0" destOrd="8" presId="urn:microsoft.com/office/officeart/2005/8/layout/vList2"/>
    <dgm:cxn modelId="{FC8A7C83-06CC-46D1-877E-90E69A04FDE5}" srcId="{10AB865B-6AAF-4B8B-A9A6-9ACF3B2438E9}" destId="{0A05F493-3BAD-4D26-9041-1CCA4F8968ED}" srcOrd="5" destOrd="0" parTransId="{EEA44D57-1B91-47CF-A555-5895E805C6F5}" sibTransId="{2532D008-D07D-48A6-8152-E309501EEE92}"/>
    <dgm:cxn modelId="{41EB82D3-F683-46CF-AB99-2EC5452E361D}" srcId="{10AB865B-6AAF-4B8B-A9A6-9ACF3B2438E9}" destId="{681BBCFD-AA69-4F65-ACD2-2F20C33FCBA3}" srcOrd="4" destOrd="0" parTransId="{76C068F6-05B7-432A-B857-6E6982E6A5F9}" sibTransId="{A5DA3603-050F-48EE-B1FF-21B354B6DA9D}"/>
    <dgm:cxn modelId="{24AC4085-4AD4-4E63-B818-02FDB87B0515}" type="presOf" srcId="{681BBCFD-AA69-4F65-ACD2-2F20C33FCBA3}" destId="{BC10CFDC-D045-4AC3-A2C3-3A5C7F5B3250}" srcOrd="0" destOrd="6" presId="urn:microsoft.com/office/officeart/2005/8/layout/vList2"/>
    <dgm:cxn modelId="{A263E406-09DC-49F3-83D2-7B4758993A09}" srcId="{5EE78B0F-C07D-49E2-911E-95F1801FE48A}" destId="{10AB865B-6AAF-4B8B-A9A6-9ACF3B2438E9}" srcOrd="0" destOrd="0" parTransId="{A7BE3B71-3187-4E24-8A1B-ECECDB86CE3D}" sibTransId="{0116BA1D-D6DE-4D2F-8849-DCAA9B00FF6F}"/>
    <dgm:cxn modelId="{EC2BB441-4E06-43E4-8D53-85220CCBBC2E}" type="presOf" srcId="{A6736215-677A-4399-9E7D-039BB52B9845}" destId="{BC10CFDC-D045-4AC3-A2C3-3A5C7F5B3250}" srcOrd="0" destOrd="7" presId="urn:microsoft.com/office/officeart/2005/8/layout/vList2"/>
    <dgm:cxn modelId="{6617D4C9-13ED-4346-BE6E-2D9DD16B177E}" type="presOf" srcId="{0703A159-4F5A-4F64-A038-7F5B7732E1D2}" destId="{BC10CFDC-D045-4AC3-A2C3-3A5C7F5B3250}" srcOrd="0" destOrd="3" presId="urn:microsoft.com/office/officeart/2005/8/layout/vList2"/>
    <dgm:cxn modelId="{F695F281-A07D-4AA1-A588-D55103379023}" srcId="{10AB865B-6AAF-4B8B-A9A6-9ACF3B2438E9}" destId="{01586762-0386-47F9-8300-9B2EA124E66E}" srcOrd="6" destOrd="0" parTransId="{614652D2-85F4-4296-87A9-8A406AF59A4A}" sibTransId="{9DA11FBB-824D-4652-9590-4593341F624B}"/>
    <dgm:cxn modelId="{B7DB1763-0C56-4AFB-89E9-8673456D131A}" type="presOf" srcId="{39DDC263-D390-4731-A70C-B42E884D3186}" destId="{BC10CFDC-D045-4AC3-A2C3-3A5C7F5B3250}" srcOrd="0" destOrd="5" presId="urn:microsoft.com/office/officeart/2005/8/layout/vList2"/>
    <dgm:cxn modelId="{AFDC3149-1D50-4D89-919B-ECF0E23DC021}" type="presOf" srcId="{460FB018-D043-4CD6-985D-14AC769054BC}" destId="{BC10CFDC-D045-4AC3-A2C3-3A5C7F5B3250}" srcOrd="0" destOrd="1" presId="urn:microsoft.com/office/officeart/2005/8/layout/vList2"/>
    <dgm:cxn modelId="{FAA55125-D260-440A-8327-34B2A9CDB44C}" type="presOf" srcId="{5EE78B0F-C07D-49E2-911E-95F1801FE48A}" destId="{B1705B4E-3B32-4854-BED6-DD034CCD61A3}" srcOrd="0" destOrd="0" presId="urn:microsoft.com/office/officeart/2005/8/layout/vList2"/>
    <dgm:cxn modelId="{881279AB-EB77-4F9B-BC33-12602A278C7C}" type="presOf" srcId="{BF7A3683-CCBA-41BB-8586-8D638FCBE1B1}" destId="{BC10CFDC-D045-4AC3-A2C3-3A5C7F5B3250}" srcOrd="0" destOrd="11" presId="urn:microsoft.com/office/officeart/2005/8/layout/vList2"/>
    <dgm:cxn modelId="{356D6B7E-904D-4C60-9CC9-ABBE73757F48}" type="presOf" srcId="{CD4626D5-8CC5-41C9-9063-B845BA922E28}" destId="{BC10CFDC-D045-4AC3-A2C3-3A5C7F5B3250}" srcOrd="0" destOrd="2" presId="urn:microsoft.com/office/officeart/2005/8/layout/vList2"/>
    <dgm:cxn modelId="{BE68D85B-7E66-43B5-A64B-BBF9EECB752F}" srcId="{0703A159-4F5A-4F64-A038-7F5B7732E1D2}" destId="{39DDC263-D390-4731-A70C-B42E884D3186}" srcOrd="1" destOrd="0" parTransId="{662A7352-3123-4AFF-BE6E-33BBE8FB66CF}" sibTransId="{D08BAEDB-7AA3-44EA-8E96-AFDD7E0C1E5A}"/>
    <dgm:cxn modelId="{E6B15286-5004-49EB-9A19-C383D19FF7AB}" type="presOf" srcId="{01586762-0386-47F9-8300-9B2EA124E66E}" destId="{BC10CFDC-D045-4AC3-A2C3-3A5C7F5B3250}" srcOrd="0" destOrd="9" presId="urn:microsoft.com/office/officeart/2005/8/layout/vList2"/>
    <dgm:cxn modelId="{CE45B980-F483-476E-B223-5AB10C71E954}" type="presOf" srcId="{C0C93E54-74B7-44B7-A15C-B44F04A8F513}" destId="{BC10CFDC-D045-4AC3-A2C3-3A5C7F5B3250}" srcOrd="0" destOrd="10" presId="urn:microsoft.com/office/officeart/2005/8/layout/vList2"/>
    <dgm:cxn modelId="{ADAC1C57-BDC3-4910-B3D2-139C5A459425}" type="presOf" srcId="{54445E89-1261-46E8-9186-6CC720FA1730}" destId="{BC10CFDC-D045-4AC3-A2C3-3A5C7F5B3250}" srcOrd="0" destOrd="4" presId="urn:microsoft.com/office/officeart/2005/8/layout/vList2"/>
    <dgm:cxn modelId="{AF8626CE-AA13-4DDB-AB30-F6CC6E402F7B}" type="presParOf" srcId="{B1705B4E-3B32-4854-BED6-DD034CCD61A3}" destId="{C0672512-A2E2-43CB-B96C-CF4C96891164}" srcOrd="0" destOrd="0" presId="urn:microsoft.com/office/officeart/2005/8/layout/vList2"/>
    <dgm:cxn modelId="{B3B3F32B-280C-46D1-B950-D3EBAB0BBF33}" type="presParOf" srcId="{B1705B4E-3B32-4854-BED6-DD034CCD61A3}" destId="{BC10CFDC-D045-4AC3-A2C3-3A5C7F5B3250}"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C037A21-5B35-4ACA-94AE-10CFC13A0AE2}"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290157AD-D1EC-415F-9239-0B5D2ECCCF53}">
      <dgm:prSet phldrT="[Tex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Team Approach</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45A8705B-06CC-4C0A-B211-F488E02D57EB}" type="parTrans" cxnId="{B60AA0B4-B15F-416A-AA0A-804A65B5788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9F86799D-26A6-4CEC-AD0E-B77AEDC6BB18}" type="sibTrans" cxnId="{B60AA0B4-B15F-416A-AA0A-804A65B5788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2B6B0689-D477-4F2B-A77A-DB99FAB95B6A}">
      <dgm:prSet phldrT="[Text]" custT="1"/>
      <dgm:spPr/>
      <dgm:t>
        <a:bodyPr anchor="ctr"/>
        <a:lstStyle/>
        <a:p>
          <a:pPr algn="just">
            <a:lnSpc>
              <a:spcPct val="100000"/>
            </a:lnSpc>
            <a:spcAft>
              <a:spcPts val="600"/>
            </a:spcAft>
          </a:pPr>
          <a:r>
            <a:rPr lang="en-US" sz="2200" dirty="0" smtClean="0">
              <a:solidFill>
                <a:schemeClr val="tx2"/>
              </a:solidFill>
              <a:latin typeface="Arial" panose="020B0604020202020204" pitchFamily="34" charset="0"/>
              <a:ea typeface="Tahoma" panose="020B0604030504040204" pitchFamily="34" charset="0"/>
              <a:cs typeface="Arial" panose="020B0604020202020204" pitchFamily="34" charset="0"/>
            </a:rPr>
            <a:t>The Insured, Claims Consultant, Risk Consultant, and Defense Attorney should all work collaboratively. </a:t>
          </a:r>
          <a:endParaRPr lang="en-US" sz="22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D5EE8074-A664-4435-A033-44D8671DE372}" type="parTrans" cxnId="{4A211D85-2371-4607-9F7D-0FB97C26A09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2D2BAB54-522F-416E-99F8-2965D47E6D60}" type="sibTrans" cxnId="{4A211D85-2371-4607-9F7D-0FB97C26A09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5E98C998-9C62-4CDD-884A-A5CC06E9060E}">
      <dgm:prSet phldrT="[Text]" custT="1"/>
      <dgm:spPr/>
      <dgm:t>
        <a:bodyPr anchor="ctr"/>
        <a:lstStyle/>
        <a:p>
          <a:pPr algn="just">
            <a:lnSpc>
              <a:spcPct val="100000"/>
            </a:lnSpc>
            <a:spcAft>
              <a:spcPts val="600"/>
            </a:spcAft>
          </a:pPr>
          <a:r>
            <a:rPr lang="en-US" altLang="en-US" sz="2200" dirty="0" smtClean="0">
              <a:solidFill>
                <a:schemeClr val="tx2"/>
              </a:solidFill>
              <a:latin typeface="Trebuchet MS" panose="020B0703020202090204" pitchFamily="34" charset="0"/>
              <a:ea typeface="Trebuchet MS" panose="020B0703020202090204" pitchFamily="34" charset="0"/>
              <a:cs typeface="Trebuchet MS" panose="020B0703020202090204" pitchFamily="34" charset="0"/>
            </a:rPr>
            <a:t>Frequent </a:t>
          </a:r>
          <a:r>
            <a:rPr lang="en-US" altLang="en-US" sz="2200" b="1" u="sng" dirty="0" smtClean="0">
              <a:solidFill>
                <a:schemeClr val="tx2"/>
              </a:solidFill>
              <a:latin typeface="Trebuchet MS" panose="020B0703020202090204" pitchFamily="34" charset="0"/>
              <a:ea typeface="Trebuchet MS" panose="020B0703020202090204" pitchFamily="34" charset="0"/>
              <a:cs typeface="Trebuchet MS" panose="020B0703020202090204" pitchFamily="34" charset="0"/>
            </a:rPr>
            <a:t>communication</a:t>
          </a:r>
          <a:r>
            <a:rPr lang="en-US" altLang="en-US" sz="2200" dirty="0" smtClean="0">
              <a:solidFill>
                <a:schemeClr val="tx2"/>
              </a:solidFill>
              <a:latin typeface="Trebuchet MS" panose="020B0703020202090204" pitchFamily="34" charset="0"/>
              <a:ea typeface="Trebuchet MS" panose="020B0703020202090204" pitchFamily="34" charset="0"/>
              <a:cs typeface="Trebuchet MS" panose="020B0703020202090204" pitchFamily="34" charset="0"/>
            </a:rPr>
            <a:t> with insureds about what is in their best interests</a:t>
          </a:r>
        </a:p>
        <a:p>
          <a:pPr algn="just">
            <a:lnSpc>
              <a:spcPct val="100000"/>
            </a:lnSpc>
            <a:spcAft>
              <a:spcPts val="600"/>
            </a:spcAft>
          </a:pPr>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Pure Consent</a:t>
          </a:r>
          <a:r>
            <a:rPr lang="en-US" sz="2200" b="0" dirty="0" smtClean="0">
              <a:solidFill>
                <a:schemeClr val="tx2"/>
              </a:solidFill>
              <a:latin typeface="Arial" panose="020B0604020202020204" pitchFamily="34" charset="0"/>
              <a:ea typeface="Tahoma" panose="020B0604030504040204" pitchFamily="34" charset="0"/>
              <a:cs typeface="Arial" panose="020B0604020202020204" pitchFamily="34" charset="0"/>
            </a:rPr>
            <a:t> Clause available in policies for settlement.</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6CE1AFF2-F6CC-461A-847E-1521C7182F29}" type="parTrans" cxnId="{6360671E-9257-4392-AE8C-7939772ED04D}">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6FED17A8-16F6-41F0-914E-40DD0BEF684C}" type="sibTrans" cxnId="{6360671E-9257-4392-AE8C-7939772ED04D}">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7EF9F068-E581-4296-9DD7-6F89798317BC}">
      <dgm:prSet phldrT="[Text]" custT="1"/>
      <dgm:spPr/>
      <dgm:t>
        <a:bodyPr/>
        <a:lstStyle/>
        <a:p>
          <a:r>
            <a:rPr lang="en-US" sz="22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Communication</a:t>
          </a:r>
          <a:endParaRPr lang="en-US" sz="22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C72F041C-A293-4D8A-8CBA-5FAECB7E0BA0}" type="parTrans" cxnId="{AAE57950-D258-4898-81ED-8551AC5816B0}">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D6CCAE8E-E72C-4EAA-A34D-100B48A41019}" type="sibTrans" cxnId="{AAE57950-D258-4898-81ED-8551AC5816B0}">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3FA25071-440B-4E71-B5A6-0FAB6FB3A85A}">
      <dgm:prSet phldrT="[Text]" custT="1"/>
      <dgm:spPr/>
      <dgm:t>
        <a:bodyPr anchor="ctr"/>
        <a:lstStyle/>
        <a:p>
          <a:pPr algn="just">
            <a:lnSpc>
              <a:spcPct val="100000"/>
            </a:lnSpc>
            <a:spcAft>
              <a:spcPts val="600"/>
            </a:spcAft>
          </a:pPr>
          <a:r>
            <a:rPr lang="en-US" sz="2200" dirty="0" smtClean="0">
              <a:solidFill>
                <a:schemeClr val="tx2"/>
              </a:solidFill>
              <a:latin typeface="Arial" panose="020B0604020202020204" pitchFamily="34" charset="0"/>
              <a:ea typeface="Tahoma" panose="020B0604030504040204" pitchFamily="34" charset="0"/>
              <a:cs typeface="Arial" panose="020B0604020202020204" pitchFamily="34" charset="0"/>
            </a:rPr>
            <a:t>Opportunity for additional training, CE's, and individual </a:t>
          </a:r>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Q&amp;A sessions</a:t>
          </a:r>
          <a:r>
            <a:rPr lang="en-US" sz="2200" b="0" dirty="0" smtClean="0">
              <a:solidFill>
                <a:schemeClr val="tx2"/>
              </a:solidFill>
              <a:latin typeface="Arial" panose="020B0604020202020204" pitchFamily="34" charset="0"/>
              <a:ea typeface="Tahoma" panose="020B0604030504040204" pitchFamily="34" charset="0"/>
              <a:cs typeface="Arial" panose="020B0604020202020204" pitchFamily="34" charset="0"/>
            </a:rPr>
            <a:t> with member of our Risk Team.</a:t>
          </a:r>
          <a:endParaRPr lang="en-US" sz="22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A897BD9-0BE3-4745-9FB8-914BAF6276A0}" type="parTrans" cxnId="{8A20470F-1F0C-4A62-89C7-37862D869ED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AB8CF48F-D685-4202-B670-89FD5D9C3367}" type="sibTrans" cxnId="{8A20470F-1F0C-4A62-89C7-37862D869ED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1C8E6353-7F93-4B89-B209-DABE5FE3D21B}">
      <dgm:prSet phldrT="[Text]" custT="1"/>
      <dgm:spPr/>
      <dgm:t>
        <a:bodyPr anchor="ctr"/>
        <a:lstStyle/>
        <a:p>
          <a:pPr>
            <a:lnSpc>
              <a:spcPct val="100000"/>
            </a:lnSpc>
            <a:spcAft>
              <a:spcPts val="600"/>
            </a:spcAft>
          </a:pPr>
          <a:r>
            <a:rPr lang="en-US" altLang="en-US" sz="2200" dirty="0" smtClean="0">
              <a:solidFill>
                <a:schemeClr val="tx2"/>
              </a:solidFill>
              <a:latin typeface="+mj-lt"/>
              <a:ea typeface="Trebuchet MS" panose="020B0703020202090204" pitchFamily="34" charset="0"/>
              <a:cs typeface="Trebuchet MS" panose="020B0703020202090204" pitchFamily="34" charset="0"/>
            </a:rPr>
            <a:t>Strong </a:t>
          </a:r>
          <a:r>
            <a:rPr lang="en-US" altLang="en-US" sz="2200" b="1" u="sng" dirty="0" smtClean="0">
              <a:solidFill>
                <a:schemeClr val="tx2"/>
              </a:solidFill>
              <a:latin typeface="+mj-lt"/>
              <a:ea typeface="Trebuchet MS" panose="020B0703020202090204" pitchFamily="34" charset="0"/>
              <a:cs typeface="Trebuchet MS" panose="020B0703020202090204" pitchFamily="34" charset="0"/>
            </a:rPr>
            <a:t>risk-benefit analysis</a:t>
          </a:r>
          <a:r>
            <a:rPr lang="en-US" altLang="en-US" sz="2200" b="1" dirty="0" smtClean="0">
              <a:solidFill>
                <a:schemeClr val="tx2"/>
              </a:solidFill>
              <a:latin typeface="+mj-lt"/>
              <a:ea typeface="Trebuchet MS" panose="020B0703020202090204" pitchFamily="34" charset="0"/>
              <a:cs typeface="Trebuchet MS" panose="020B0703020202090204" pitchFamily="34" charset="0"/>
            </a:rPr>
            <a:t> </a:t>
          </a:r>
          <a:r>
            <a:rPr lang="en-US" altLang="en-US" sz="2200" dirty="0" smtClean="0">
              <a:solidFill>
                <a:schemeClr val="tx2"/>
              </a:solidFill>
              <a:latin typeface="+mj-lt"/>
              <a:ea typeface="Trebuchet MS" panose="020B0703020202090204" pitchFamily="34" charset="0"/>
              <a:cs typeface="Trebuchet MS" panose="020B0703020202090204" pitchFamily="34" charset="0"/>
            </a:rPr>
            <a:t>to make informed decisions regarding settlement versus trial</a:t>
          </a:r>
        </a:p>
        <a:p>
          <a:pPr>
            <a:lnSpc>
              <a:spcPct val="100000"/>
            </a:lnSpc>
            <a:spcAft>
              <a:spcPts val="600"/>
            </a:spcAft>
          </a:pPr>
          <a:r>
            <a:rPr lang="en-US" altLang="en-US" sz="2200" dirty="0" smtClean="0">
              <a:solidFill>
                <a:schemeClr val="tx2"/>
              </a:solidFill>
              <a:latin typeface="+mj-lt"/>
              <a:ea typeface="Trebuchet MS" panose="020B0703020202090204" pitchFamily="34" charset="0"/>
              <a:cs typeface="Trebuchet MS" panose="020B0703020202090204" pitchFamily="34" charset="0"/>
            </a:rPr>
            <a:t>Paying the </a:t>
          </a:r>
          <a:r>
            <a:rPr lang="en-US" altLang="en-US" sz="2200" b="1" u="sng" dirty="0" smtClean="0">
              <a:solidFill>
                <a:schemeClr val="tx2"/>
              </a:solidFill>
              <a:latin typeface="+mj-lt"/>
              <a:ea typeface="Trebuchet MS" panose="020B0703020202090204" pitchFamily="34" charset="0"/>
              <a:cs typeface="Trebuchet MS" panose="020B0703020202090204" pitchFamily="34" charset="0"/>
            </a:rPr>
            <a:t>reasonable value</a:t>
          </a:r>
          <a:r>
            <a:rPr lang="en-US" altLang="en-US" sz="2200" b="1" dirty="0" smtClean="0">
              <a:solidFill>
                <a:schemeClr val="tx2"/>
              </a:solidFill>
              <a:latin typeface="+mj-lt"/>
              <a:ea typeface="Trebuchet MS" panose="020B0703020202090204" pitchFamily="34" charset="0"/>
              <a:cs typeface="Trebuchet MS" panose="020B0703020202090204" pitchFamily="34" charset="0"/>
            </a:rPr>
            <a:t> </a:t>
          </a:r>
          <a:r>
            <a:rPr lang="en-US" altLang="en-US" sz="2200" dirty="0" smtClean="0">
              <a:solidFill>
                <a:schemeClr val="tx2"/>
              </a:solidFill>
              <a:latin typeface="+mj-lt"/>
              <a:ea typeface="Trebuchet MS" panose="020B0703020202090204" pitchFamily="34" charset="0"/>
              <a:cs typeface="Trebuchet MS" panose="020B0703020202090204" pitchFamily="34" charset="0"/>
            </a:rPr>
            <a:t>of the case; </a:t>
          </a:r>
          <a:r>
            <a:rPr lang="en-US" altLang="en-US" sz="2200" b="1" i="1" u="sng" dirty="0" smtClean="0">
              <a:solidFill>
                <a:schemeClr val="tx2"/>
              </a:solidFill>
              <a:latin typeface="+mj-lt"/>
              <a:ea typeface="Trebuchet MS" panose="020B0703020202090204" pitchFamily="34" charset="0"/>
              <a:cs typeface="Trebuchet MS" panose="020B0703020202090204" pitchFamily="34" charset="0"/>
            </a:rPr>
            <a:t>not</a:t>
          </a:r>
          <a:r>
            <a:rPr lang="en-US" altLang="en-US" sz="2200" b="1" u="sng" dirty="0" smtClean="0">
              <a:solidFill>
                <a:schemeClr val="tx2"/>
              </a:solidFill>
              <a:latin typeface="+mj-lt"/>
              <a:ea typeface="Trebuchet MS" panose="020B0703020202090204" pitchFamily="34" charset="0"/>
              <a:cs typeface="Trebuchet MS" panose="020B0703020202090204" pitchFamily="34" charset="0"/>
            </a:rPr>
            <a:t> overpaying</a:t>
          </a:r>
          <a:r>
            <a:rPr lang="en-US" altLang="en-US" sz="2200" b="1" dirty="0" smtClean="0">
              <a:solidFill>
                <a:schemeClr val="tx2"/>
              </a:solidFill>
              <a:latin typeface="+mj-lt"/>
              <a:ea typeface="Trebuchet MS" panose="020B0703020202090204" pitchFamily="34" charset="0"/>
              <a:cs typeface="Trebuchet MS" panose="020B0703020202090204" pitchFamily="34" charset="0"/>
            </a:rPr>
            <a:t> </a:t>
          </a:r>
          <a:r>
            <a:rPr lang="en-US" altLang="en-US" sz="2200" dirty="0" smtClean="0">
              <a:solidFill>
                <a:schemeClr val="tx2"/>
              </a:solidFill>
              <a:latin typeface="+mj-lt"/>
              <a:ea typeface="Trebuchet MS" panose="020B0703020202090204" pitchFamily="34" charset="0"/>
              <a:cs typeface="Trebuchet MS" panose="020B0703020202090204" pitchFamily="34" charset="0"/>
            </a:rPr>
            <a:t>just to dispose of the case</a:t>
          </a:r>
          <a:endParaRPr lang="en-US" sz="2200" dirty="0" smtClean="0">
            <a:solidFill>
              <a:schemeClr val="tx2"/>
            </a:solidFill>
            <a:latin typeface="+mj-lt"/>
            <a:ea typeface="Tahoma" panose="020B0604030504040204" pitchFamily="34" charset="0"/>
            <a:cs typeface="Arial" panose="020B0604020202020204" pitchFamily="34" charset="0"/>
          </a:endParaRPr>
        </a:p>
      </dgm:t>
    </dgm:pt>
    <dgm:pt modelId="{26D3B17D-3BBC-4026-8AEB-390CE057847E}" type="parTrans" cxnId="{00F1E82A-F2B4-4EBE-BF85-36A211939B9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CF541877-2B49-4A73-8232-AC9FF4AFF349}" type="sibTrans" cxnId="{00F1E82A-F2B4-4EBE-BF85-36A211939B9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65F56F19-B7E0-428B-8A61-6F8A55E0A7E4}">
      <dgm:prSe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Risk</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6A556682-1A70-498E-8732-381D3686E3A1}" type="parTrans" cxnId="{95D3C35C-6629-4934-ABC9-63852F645B41}">
      <dgm:prSet/>
      <dgm:spPr/>
      <dgm:t>
        <a:bodyPr/>
        <a:lstStyle/>
        <a:p>
          <a:endParaRPr lang="en-US"/>
        </a:p>
      </dgm:t>
    </dgm:pt>
    <dgm:pt modelId="{21B29E32-BF95-4604-BD12-D06B536927A3}" type="sibTrans" cxnId="{95D3C35C-6629-4934-ABC9-63852F645B41}">
      <dgm:prSet/>
      <dgm:spPr/>
      <dgm:t>
        <a:bodyPr/>
        <a:lstStyle/>
        <a:p>
          <a:endParaRPr lang="en-US"/>
        </a:p>
      </dgm:t>
    </dgm:pt>
    <dgm:pt modelId="{0BD87BF9-6365-492C-B4F3-ACD719B6293F}">
      <dgm:prSe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Claims</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B0CE821E-66FB-4E9B-9F72-F0683237B013}" type="parTrans" cxnId="{D1466B68-DFF7-4ECE-A674-8158291593BB}">
      <dgm:prSet/>
      <dgm:spPr/>
      <dgm:t>
        <a:bodyPr/>
        <a:lstStyle/>
        <a:p>
          <a:endParaRPr lang="en-US"/>
        </a:p>
      </dgm:t>
    </dgm:pt>
    <dgm:pt modelId="{CA38D87B-8B5E-49DB-AE97-BA8B1C952FD0}" type="sibTrans" cxnId="{D1466B68-DFF7-4ECE-A674-8158291593BB}">
      <dgm:prSet/>
      <dgm:spPr/>
      <dgm:t>
        <a:bodyPr/>
        <a:lstStyle/>
        <a:p>
          <a:endParaRPr lang="en-US"/>
        </a:p>
      </dgm:t>
    </dgm:pt>
    <dgm:pt modelId="{28826455-F1D9-41A2-B2FD-5ABC3A655F42}" type="pres">
      <dgm:prSet presAssocID="{8C037A21-5B35-4ACA-94AE-10CFC13A0AE2}" presName="vert0" presStyleCnt="0">
        <dgm:presLayoutVars>
          <dgm:dir/>
          <dgm:animOne val="branch"/>
          <dgm:animLvl val="lvl"/>
        </dgm:presLayoutVars>
      </dgm:prSet>
      <dgm:spPr/>
      <dgm:t>
        <a:bodyPr/>
        <a:lstStyle/>
        <a:p>
          <a:endParaRPr lang="en-US"/>
        </a:p>
      </dgm:t>
    </dgm:pt>
    <dgm:pt modelId="{70F9B691-8599-4816-9830-07B5F49AD67C}" type="pres">
      <dgm:prSet presAssocID="{290157AD-D1EC-415F-9239-0B5D2ECCCF53}" presName="thickLine" presStyleLbl="alignNode1" presStyleIdx="0" presStyleCnt="4" custLinFactNeighborY="-28864"/>
      <dgm:spPr/>
    </dgm:pt>
    <dgm:pt modelId="{B8E2F443-21C5-4EA3-B12B-DD363A5A379E}" type="pres">
      <dgm:prSet presAssocID="{290157AD-D1EC-415F-9239-0B5D2ECCCF53}" presName="horz1" presStyleCnt="0"/>
      <dgm:spPr/>
    </dgm:pt>
    <dgm:pt modelId="{DA9198D2-77EF-4653-9EC3-92C9E130CD6B}" type="pres">
      <dgm:prSet presAssocID="{290157AD-D1EC-415F-9239-0B5D2ECCCF53}" presName="tx1" presStyleLbl="revTx" presStyleIdx="0" presStyleCnt="8" custScaleY="27235" custLinFactNeighborY="6246"/>
      <dgm:spPr/>
      <dgm:t>
        <a:bodyPr/>
        <a:lstStyle/>
        <a:p>
          <a:endParaRPr lang="en-US"/>
        </a:p>
      </dgm:t>
    </dgm:pt>
    <dgm:pt modelId="{B6623659-A021-47C3-8612-3D3E0DFFACA1}" type="pres">
      <dgm:prSet presAssocID="{290157AD-D1EC-415F-9239-0B5D2ECCCF53}" presName="vert1" presStyleCnt="0"/>
      <dgm:spPr/>
    </dgm:pt>
    <dgm:pt modelId="{5C7FAC01-DEE2-4CD0-945C-192F9D47ED26}" type="pres">
      <dgm:prSet presAssocID="{2B6B0689-D477-4F2B-A77A-DB99FAB95B6A}" presName="vertSpace2a" presStyleCnt="0"/>
      <dgm:spPr/>
    </dgm:pt>
    <dgm:pt modelId="{D1965DAB-1672-4C54-964A-A093373A319C}" type="pres">
      <dgm:prSet presAssocID="{2B6B0689-D477-4F2B-A77A-DB99FAB95B6A}" presName="horz2" presStyleCnt="0"/>
      <dgm:spPr/>
    </dgm:pt>
    <dgm:pt modelId="{EEEC334D-8D86-447E-9403-13483ADEE922}" type="pres">
      <dgm:prSet presAssocID="{2B6B0689-D477-4F2B-A77A-DB99FAB95B6A}" presName="horzSpace2" presStyleCnt="0"/>
      <dgm:spPr/>
    </dgm:pt>
    <dgm:pt modelId="{C5CFBBCA-CC56-4A49-ABEB-FBDD6D4E912F}" type="pres">
      <dgm:prSet presAssocID="{2B6B0689-D477-4F2B-A77A-DB99FAB95B6A}" presName="tx2" presStyleLbl="revTx" presStyleIdx="1" presStyleCnt="8" custScaleY="74343" custLinFactNeighborX="0" custLinFactNeighborY="17402"/>
      <dgm:spPr/>
      <dgm:t>
        <a:bodyPr/>
        <a:lstStyle/>
        <a:p>
          <a:endParaRPr lang="en-US"/>
        </a:p>
      </dgm:t>
    </dgm:pt>
    <dgm:pt modelId="{5B444525-07DB-46A9-9054-2986EECE2B57}" type="pres">
      <dgm:prSet presAssocID="{2B6B0689-D477-4F2B-A77A-DB99FAB95B6A}" presName="vert2" presStyleCnt="0"/>
      <dgm:spPr/>
    </dgm:pt>
    <dgm:pt modelId="{1E68391F-7812-4B33-8848-5C421C2D3F20}" type="pres">
      <dgm:prSet presAssocID="{2B6B0689-D477-4F2B-A77A-DB99FAB95B6A}" presName="thinLine2b" presStyleLbl="callout" presStyleIdx="0" presStyleCnt="4" custLinFactY="200000" custLinFactNeighborX="0" custLinFactNeighborY="264226"/>
      <dgm:spPr/>
    </dgm:pt>
    <dgm:pt modelId="{A674D3D6-06B3-4F5D-9B93-8BD60F581873}" type="pres">
      <dgm:prSet presAssocID="{2B6B0689-D477-4F2B-A77A-DB99FAB95B6A}" presName="vertSpace2b" presStyleCnt="0"/>
      <dgm:spPr/>
    </dgm:pt>
    <dgm:pt modelId="{E2F93BC7-68FA-40E4-8D68-87E2189E778D}" type="pres">
      <dgm:prSet presAssocID="{5E98C998-9C62-4CDD-884A-A5CC06E9060E}" presName="horz2" presStyleCnt="0"/>
      <dgm:spPr/>
    </dgm:pt>
    <dgm:pt modelId="{A2011984-36A2-4C00-9DB2-F3167749BCF9}" type="pres">
      <dgm:prSet presAssocID="{5E98C998-9C62-4CDD-884A-A5CC06E9060E}" presName="horzSpace2" presStyleCnt="0"/>
      <dgm:spPr/>
    </dgm:pt>
    <dgm:pt modelId="{7239FD66-239C-4D8C-84AC-2028495692E1}" type="pres">
      <dgm:prSet presAssocID="{5E98C998-9C62-4CDD-884A-A5CC06E9060E}" presName="tx2" presStyleLbl="revTx" presStyleIdx="2" presStyleCnt="8" custLinFactNeighborX="0" custLinFactNeighborY="19134"/>
      <dgm:spPr/>
      <dgm:t>
        <a:bodyPr/>
        <a:lstStyle/>
        <a:p>
          <a:endParaRPr lang="en-US"/>
        </a:p>
      </dgm:t>
    </dgm:pt>
    <dgm:pt modelId="{5A89AEAC-43BF-4086-8F7E-4955D0C29B92}" type="pres">
      <dgm:prSet presAssocID="{5E98C998-9C62-4CDD-884A-A5CC06E9060E}" presName="vert2" presStyleCnt="0"/>
      <dgm:spPr/>
    </dgm:pt>
    <dgm:pt modelId="{3C17B585-ADE1-4C14-A9AD-CB5E9129EC26}" type="pres">
      <dgm:prSet presAssocID="{5E98C998-9C62-4CDD-884A-A5CC06E9060E}" presName="thinLine2b" presStyleLbl="callout" presStyleIdx="1" presStyleCnt="4" custLinFactY="300000" custLinFactNeighborX="0" custLinFactNeighborY="339641"/>
      <dgm:spPr/>
    </dgm:pt>
    <dgm:pt modelId="{13BD34BB-6004-4D05-B295-679196FC88A7}" type="pres">
      <dgm:prSet presAssocID="{5E98C998-9C62-4CDD-884A-A5CC06E9060E}" presName="vertSpace2b" presStyleCnt="0"/>
      <dgm:spPr/>
    </dgm:pt>
    <dgm:pt modelId="{8D158380-57EB-4A5C-8529-366B59968EDB}" type="pres">
      <dgm:prSet presAssocID="{7EF9F068-E581-4296-9DD7-6F89798317BC}" presName="thickLine" presStyleLbl="alignNode1" presStyleIdx="1" presStyleCnt="4" custLinFactNeighborY="19019"/>
      <dgm:spPr/>
    </dgm:pt>
    <dgm:pt modelId="{97EEDFCA-AF7B-404F-B520-CAC737A7C472}" type="pres">
      <dgm:prSet presAssocID="{7EF9F068-E581-4296-9DD7-6F89798317BC}" presName="horz1" presStyleCnt="0"/>
      <dgm:spPr/>
    </dgm:pt>
    <dgm:pt modelId="{D954D7E1-9100-493B-87C4-76D3C2EA5B52}" type="pres">
      <dgm:prSet presAssocID="{7EF9F068-E581-4296-9DD7-6F89798317BC}" presName="tx1" presStyleLbl="revTx" presStyleIdx="3" presStyleCnt="8" custScaleX="116773" custScaleY="18337" custLinFactNeighborY="-30728"/>
      <dgm:spPr/>
      <dgm:t>
        <a:bodyPr/>
        <a:lstStyle/>
        <a:p>
          <a:endParaRPr lang="en-US"/>
        </a:p>
      </dgm:t>
    </dgm:pt>
    <dgm:pt modelId="{5C88D84F-0C00-4EEA-B8C6-33FC7DC471E6}" type="pres">
      <dgm:prSet presAssocID="{7EF9F068-E581-4296-9DD7-6F89798317BC}" presName="vert1" presStyleCnt="0"/>
      <dgm:spPr/>
    </dgm:pt>
    <dgm:pt modelId="{520D15F4-0AFA-4263-BD8A-1E71AF076BC9}" type="pres">
      <dgm:prSet presAssocID="{3FA25071-440B-4E71-B5A6-0FAB6FB3A85A}" presName="vertSpace2a" presStyleCnt="0"/>
      <dgm:spPr/>
    </dgm:pt>
    <dgm:pt modelId="{3B9B62B9-DDCB-41DF-86EE-8AD09C5B61DD}" type="pres">
      <dgm:prSet presAssocID="{3FA25071-440B-4E71-B5A6-0FAB6FB3A85A}" presName="horz2" presStyleCnt="0"/>
      <dgm:spPr/>
    </dgm:pt>
    <dgm:pt modelId="{13E0340A-A135-49AF-84B2-904184A098F3}" type="pres">
      <dgm:prSet presAssocID="{3FA25071-440B-4E71-B5A6-0FAB6FB3A85A}" presName="horzSpace2" presStyleCnt="0"/>
      <dgm:spPr/>
    </dgm:pt>
    <dgm:pt modelId="{BB2FC01C-3848-443B-829C-2926BC1AE93F}" type="pres">
      <dgm:prSet presAssocID="{3FA25071-440B-4E71-B5A6-0FAB6FB3A85A}" presName="tx2" presStyleLbl="revTx" presStyleIdx="4" presStyleCnt="8" custLinFactNeighborX="-1661" custLinFactNeighborY="32270"/>
      <dgm:spPr/>
      <dgm:t>
        <a:bodyPr/>
        <a:lstStyle/>
        <a:p>
          <a:endParaRPr lang="en-US"/>
        </a:p>
      </dgm:t>
    </dgm:pt>
    <dgm:pt modelId="{89C10793-67EF-4785-81AC-10B895AB0350}" type="pres">
      <dgm:prSet presAssocID="{3FA25071-440B-4E71-B5A6-0FAB6FB3A85A}" presName="vert2" presStyleCnt="0"/>
      <dgm:spPr/>
    </dgm:pt>
    <dgm:pt modelId="{C64FCA69-9840-4EE3-81EE-DF0C3080B4F9}" type="pres">
      <dgm:prSet presAssocID="{3FA25071-440B-4E71-B5A6-0FAB6FB3A85A}" presName="thinLine2b" presStyleLbl="callout" presStyleIdx="2" presStyleCnt="4" custLinFactY="200000" custLinFactNeighborX="100" custLinFactNeighborY="218071"/>
      <dgm:spPr/>
    </dgm:pt>
    <dgm:pt modelId="{5BB0B836-09F7-4220-9B2A-1D6DB0C74037}" type="pres">
      <dgm:prSet presAssocID="{3FA25071-440B-4E71-B5A6-0FAB6FB3A85A}" presName="vertSpace2b" presStyleCnt="0"/>
      <dgm:spPr/>
    </dgm:pt>
    <dgm:pt modelId="{69C1702A-4CD0-4C3E-8BF2-F18E7650640E}" type="pres">
      <dgm:prSet presAssocID="{1C8E6353-7F93-4B89-B209-DABE5FE3D21B}" presName="horz2" presStyleCnt="0"/>
      <dgm:spPr/>
    </dgm:pt>
    <dgm:pt modelId="{D3EBF7D9-4572-4441-9119-E2A4816B2DF0}" type="pres">
      <dgm:prSet presAssocID="{1C8E6353-7F93-4B89-B209-DABE5FE3D21B}" presName="horzSpace2" presStyleCnt="0"/>
      <dgm:spPr/>
    </dgm:pt>
    <dgm:pt modelId="{1B9C0841-883D-499E-99BE-355B3674F638}" type="pres">
      <dgm:prSet presAssocID="{1C8E6353-7F93-4B89-B209-DABE5FE3D21B}" presName="tx2" presStyleLbl="revTx" presStyleIdx="5" presStyleCnt="8" custScaleY="66115" custLinFactNeighborX="-1456" custLinFactNeighborY="46139"/>
      <dgm:spPr/>
      <dgm:t>
        <a:bodyPr/>
        <a:lstStyle/>
        <a:p>
          <a:endParaRPr lang="en-US"/>
        </a:p>
      </dgm:t>
    </dgm:pt>
    <dgm:pt modelId="{536DD15D-EB64-4E73-88E7-F5CCF0A31BAD}" type="pres">
      <dgm:prSet presAssocID="{1C8E6353-7F93-4B89-B209-DABE5FE3D21B}" presName="vert2" presStyleCnt="0"/>
      <dgm:spPr/>
    </dgm:pt>
    <dgm:pt modelId="{A6377CBD-2F3E-4792-B79E-7F52C94965A2}" type="pres">
      <dgm:prSet presAssocID="{1C8E6353-7F93-4B89-B209-DABE5FE3D21B}" presName="thinLine2b" presStyleLbl="callout" presStyleIdx="3" presStyleCnt="4" custLinFactY="1970611" custLinFactNeighborX="100" custLinFactNeighborY="2000000"/>
      <dgm:spPr/>
    </dgm:pt>
    <dgm:pt modelId="{D869F2C5-C583-4414-90CB-017DACD124B5}" type="pres">
      <dgm:prSet presAssocID="{1C8E6353-7F93-4B89-B209-DABE5FE3D21B}" presName="vertSpace2b" presStyleCnt="0"/>
      <dgm:spPr/>
    </dgm:pt>
    <dgm:pt modelId="{4A463BFA-D915-4536-BCF6-D61E91DF38D1}" type="pres">
      <dgm:prSet presAssocID="{65F56F19-B7E0-428B-8A61-6F8A55E0A7E4}" presName="thickLine" presStyleLbl="alignNode1" presStyleIdx="2" presStyleCnt="4" custLinFactY="400000" custLinFactNeighborX="80" custLinFactNeighborY="447855"/>
      <dgm:spPr/>
    </dgm:pt>
    <dgm:pt modelId="{DF8A539D-C153-4CBE-846B-E1F02F37ACFC}" type="pres">
      <dgm:prSet presAssocID="{65F56F19-B7E0-428B-8A61-6F8A55E0A7E4}" presName="horz1" presStyleCnt="0"/>
      <dgm:spPr/>
    </dgm:pt>
    <dgm:pt modelId="{7B19BE75-0A4F-4E60-A24D-630394B70B3D}" type="pres">
      <dgm:prSet presAssocID="{65F56F19-B7E0-428B-8A61-6F8A55E0A7E4}" presName="tx1" presStyleLbl="revTx" presStyleIdx="6" presStyleCnt="8" custScaleY="22715" custLinFactNeighborY="-71116"/>
      <dgm:spPr/>
      <dgm:t>
        <a:bodyPr/>
        <a:lstStyle/>
        <a:p>
          <a:endParaRPr lang="en-US"/>
        </a:p>
      </dgm:t>
    </dgm:pt>
    <dgm:pt modelId="{BC93DCD0-DF48-43F8-B18C-71BECED77BA3}" type="pres">
      <dgm:prSet presAssocID="{65F56F19-B7E0-428B-8A61-6F8A55E0A7E4}" presName="vert1" presStyleCnt="0"/>
      <dgm:spPr/>
    </dgm:pt>
    <dgm:pt modelId="{B3C77CFC-ADA0-4927-A303-248261C595B8}" type="pres">
      <dgm:prSet presAssocID="{0BD87BF9-6365-492C-B4F3-ACD719B6293F}" presName="thickLine" presStyleLbl="alignNode1" presStyleIdx="3" presStyleCnt="4" custLinFactNeighborY="72140"/>
      <dgm:spPr/>
    </dgm:pt>
    <dgm:pt modelId="{96DF6E8B-D610-48CA-A62D-EB2D040F69F0}" type="pres">
      <dgm:prSet presAssocID="{0BD87BF9-6365-492C-B4F3-ACD719B6293F}" presName="horz1" presStyleCnt="0"/>
      <dgm:spPr/>
    </dgm:pt>
    <dgm:pt modelId="{4ECE56F9-8C96-4D45-A489-298CFE3B4309}" type="pres">
      <dgm:prSet presAssocID="{0BD87BF9-6365-492C-B4F3-ACD719B6293F}" presName="tx1" presStyleLbl="revTx" presStyleIdx="7" presStyleCnt="8" custScaleY="31378" custLinFactNeighborY="-46171"/>
      <dgm:spPr/>
      <dgm:t>
        <a:bodyPr/>
        <a:lstStyle/>
        <a:p>
          <a:endParaRPr lang="en-US"/>
        </a:p>
      </dgm:t>
    </dgm:pt>
    <dgm:pt modelId="{1DD32C88-3DAC-4335-B33F-3F0C67FAADA5}" type="pres">
      <dgm:prSet presAssocID="{0BD87BF9-6365-492C-B4F3-ACD719B6293F}" presName="vert1" presStyleCnt="0"/>
      <dgm:spPr/>
    </dgm:pt>
  </dgm:ptLst>
  <dgm:cxnLst>
    <dgm:cxn modelId="{6360671E-9257-4392-AE8C-7939772ED04D}" srcId="{290157AD-D1EC-415F-9239-0B5D2ECCCF53}" destId="{5E98C998-9C62-4CDD-884A-A5CC06E9060E}" srcOrd="1" destOrd="0" parTransId="{6CE1AFF2-F6CC-461A-847E-1521C7182F29}" sibTransId="{6FED17A8-16F6-41F0-914E-40DD0BEF684C}"/>
    <dgm:cxn modelId="{B60AA0B4-B15F-416A-AA0A-804A65B5788C}" srcId="{8C037A21-5B35-4ACA-94AE-10CFC13A0AE2}" destId="{290157AD-D1EC-415F-9239-0B5D2ECCCF53}" srcOrd="0" destOrd="0" parTransId="{45A8705B-06CC-4C0A-B211-F488E02D57EB}" sibTransId="{9F86799D-26A6-4CEC-AD0E-B77AEDC6BB18}"/>
    <dgm:cxn modelId="{18FD232E-23B5-4806-9E50-9669F845B7D3}" type="presOf" srcId="{0BD87BF9-6365-492C-B4F3-ACD719B6293F}" destId="{4ECE56F9-8C96-4D45-A489-298CFE3B4309}" srcOrd="0" destOrd="0" presId="urn:microsoft.com/office/officeart/2008/layout/LinedList"/>
    <dgm:cxn modelId="{8A20470F-1F0C-4A62-89C7-37862D869ED8}" srcId="{7EF9F068-E581-4296-9DD7-6F89798317BC}" destId="{3FA25071-440B-4E71-B5A6-0FAB6FB3A85A}" srcOrd="0" destOrd="0" parTransId="{AA897BD9-0BE3-4745-9FB8-914BAF6276A0}" sibTransId="{AB8CF48F-D685-4202-B670-89FD5D9C3367}"/>
    <dgm:cxn modelId="{38E12276-4D7E-4AB7-BC52-97E27409C71C}" type="presOf" srcId="{290157AD-D1EC-415F-9239-0B5D2ECCCF53}" destId="{DA9198D2-77EF-4653-9EC3-92C9E130CD6B}" srcOrd="0" destOrd="0" presId="urn:microsoft.com/office/officeart/2008/layout/LinedList"/>
    <dgm:cxn modelId="{00F1E82A-F2B4-4EBE-BF85-36A211939B9C}" srcId="{7EF9F068-E581-4296-9DD7-6F89798317BC}" destId="{1C8E6353-7F93-4B89-B209-DABE5FE3D21B}" srcOrd="1" destOrd="0" parTransId="{26D3B17D-3BBC-4026-8AEB-390CE057847E}" sibTransId="{CF541877-2B49-4A73-8232-AC9FF4AFF349}"/>
    <dgm:cxn modelId="{C3D95988-ABA4-4FF3-961E-3E49FB3FBCCC}" type="presOf" srcId="{7EF9F068-E581-4296-9DD7-6F89798317BC}" destId="{D954D7E1-9100-493B-87C4-76D3C2EA5B52}" srcOrd="0" destOrd="0" presId="urn:microsoft.com/office/officeart/2008/layout/LinedList"/>
    <dgm:cxn modelId="{C0E9F05E-ED99-494E-9492-18BFB32F9E12}" type="presOf" srcId="{2B6B0689-D477-4F2B-A77A-DB99FAB95B6A}" destId="{C5CFBBCA-CC56-4A49-ABEB-FBDD6D4E912F}" srcOrd="0" destOrd="0" presId="urn:microsoft.com/office/officeart/2008/layout/LinedList"/>
    <dgm:cxn modelId="{95D3C35C-6629-4934-ABC9-63852F645B41}" srcId="{8C037A21-5B35-4ACA-94AE-10CFC13A0AE2}" destId="{65F56F19-B7E0-428B-8A61-6F8A55E0A7E4}" srcOrd="2" destOrd="0" parTransId="{6A556682-1A70-498E-8732-381D3686E3A1}" sibTransId="{21B29E32-BF95-4604-BD12-D06B536927A3}"/>
    <dgm:cxn modelId="{D1466B68-DFF7-4ECE-A674-8158291593BB}" srcId="{8C037A21-5B35-4ACA-94AE-10CFC13A0AE2}" destId="{0BD87BF9-6365-492C-B4F3-ACD719B6293F}" srcOrd="3" destOrd="0" parTransId="{B0CE821E-66FB-4E9B-9F72-F0683237B013}" sibTransId="{CA38D87B-8B5E-49DB-AE97-BA8B1C952FD0}"/>
    <dgm:cxn modelId="{C2C90967-8ACC-4C6B-A464-2D0A663B8360}" type="presOf" srcId="{5E98C998-9C62-4CDD-884A-A5CC06E9060E}" destId="{7239FD66-239C-4D8C-84AC-2028495692E1}" srcOrd="0" destOrd="0" presId="urn:microsoft.com/office/officeart/2008/layout/LinedList"/>
    <dgm:cxn modelId="{FDC2A3EC-2CA2-49E2-96FB-E3BF484FE31F}" type="presOf" srcId="{1C8E6353-7F93-4B89-B209-DABE5FE3D21B}" destId="{1B9C0841-883D-499E-99BE-355B3674F638}" srcOrd="0" destOrd="0" presId="urn:microsoft.com/office/officeart/2008/layout/LinedList"/>
    <dgm:cxn modelId="{0C1CEF2A-79EA-432B-9CCA-734834400583}" type="presOf" srcId="{65F56F19-B7E0-428B-8A61-6F8A55E0A7E4}" destId="{7B19BE75-0A4F-4E60-A24D-630394B70B3D}" srcOrd="0" destOrd="0" presId="urn:microsoft.com/office/officeart/2008/layout/LinedList"/>
    <dgm:cxn modelId="{400CBAC3-3F37-4F8F-B9FE-AE42F4CBEFBF}" type="presOf" srcId="{3FA25071-440B-4E71-B5A6-0FAB6FB3A85A}" destId="{BB2FC01C-3848-443B-829C-2926BC1AE93F}" srcOrd="0" destOrd="0" presId="urn:microsoft.com/office/officeart/2008/layout/LinedList"/>
    <dgm:cxn modelId="{4A211D85-2371-4607-9F7D-0FB97C26A098}" srcId="{290157AD-D1EC-415F-9239-0B5D2ECCCF53}" destId="{2B6B0689-D477-4F2B-A77A-DB99FAB95B6A}" srcOrd="0" destOrd="0" parTransId="{D5EE8074-A664-4435-A033-44D8671DE372}" sibTransId="{2D2BAB54-522F-416E-99F8-2965D47E6D60}"/>
    <dgm:cxn modelId="{AAE57950-D258-4898-81ED-8551AC5816B0}" srcId="{8C037A21-5B35-4ACA-94AE-10CFC13A0AE2}" destId="{7EF9F068-E581-4296-9DD7-6F89798317BC}" srcOrd="1" destOrd="0" parTransId="{C72F041C-A293-4D8A-8CBA-5FAECB7E0BA0}" sibTransId="{D6CCAE8E-E72C-4EAA-A34D-100B48A41019}"/>
    <dgm:cxn modelId="{07165232-038B-4D22-8BE7-EAD12CA2E839}" type="presOf" srcId="{8C037A21-5B35-4ACA-94AE-10CFC13A0AE2}" destId="{28826455-F1D9-41A2-B2FD-5ABC3A655F42}" srcOrd="0" destOrd="0" presId="urn:microsoft.com/office/officeart/2008/layout/LinedList"/>
    <dgm:cxn modelId="{AB85A8A0-CA5E-4904-B482-B00DB0AB3857}" type="presParOf" srcId="{28826455-F1D9-41A2-B2FD-5ABC3A655F42}" destId="{70F9B691-8599-4816-9830-07B5F49AD67C}" srcOrd="0" destOrd="0" presId="urn:microsoft.com/office/officeart/2008/layout/LinedList"/>
    <dgm:cxn modelId="{84934B27-4ACD-4068-A1CE-6F1626DB6CA4}" type="presParOf" srcId="{28826455-F1D9-41A2-B2FD-5ABC3A655F42}" destId="{B8E2F443-21C5-4EA3-B12B-DD363A5A379E}" srcOrd="1" destOrd="0" presId="urn:microsoft.com/office/officeart/2008/layout/LinedList"/>
    <dgm:cxn modelId="{C8885048-1863-4518-A2A4-C8B298E8CD9B}" type="presParOf" srcId="{B8E2F443-21C5-4EA3-B12B-DD363A5A379E}" destId="{DA9198D2-77EF-4653-9EC3-92C9E130CD6B}" srcOrd="0" destOrd="0" presId="urn:microsoft.com/office/officeart/2008/layout/LinedList"/>
    <dgm:cxn modelId="{C40F510A-7F04-4AA7-951E-BDDA8D30B138}" type="presParOf" srcId="{B8E2F443-21C5-4EA3-B12B-DD363A5A379E}" destId="{B6623659-A021-47C3-8612-3D3E0DFFACA1}" srcOrd="1" destOrd="0" presId="urn:microsoft.com/office/officeart/2008/layout/LinedList"/>
    <dgm:cxn modelId="{AF2422BD-5DB1-4500-A025-8C8A7C7EC577}" type="presParOf" srcId="{B6623659-A021-47C3-8612-3D3E0DFFACA1}" destId="{5C7FAC01-DEE2-4CD0-945C-192F9D47ED26}" srcOrd="0" destOrd="0" presId="urn:microsoft.com/office/officeart/2008/layout/LinedList"/>
    <dgm:cxn modelId="{0844EF2D-0591-4BBC-8584-293273CA2276}" type="presParOf" srcId="{B6623659-A021-47C3-8612-3D3E0DFFACA1}" destId="{D1965DAB-1672-4C54-964A-A093373A319C}" srcOrd="1" destOrd="0" presId="urn:microsoft.com/office/officeart/2008/layout/LinedList"/>
    <dgm:cxn modelId="{AFE20784-18DF-426F-927E-6751D41D4878}" type="presParOf" srcId="{D1965DAB-1672-4C54-964A-A093373A319C}" destId="{EEEC334D-8D86-447E-9403-13483ADEE922}" srcOrd="0" destOrd="0" presId="urn:microsoft.com/office/officeart/2008/layout/LinedList"/>
    <dgm:cxn modelId="{7597850D-B35F-4223-B97F-7BC583765407}" type="presParOf" srcId="{D1965DAB-1672-4C54-964A-A093373A319C}" destId="{C5CFBBCA-CC56-4A49-ABEB-FBDD6D4E912F}" srcOrd="1" destOrd="0" presId="urn:microsoft.com/office/officeart/2008/layout/LinedList"/>
    <dgm:cxn modelId="{A5FF32CB-A76E-438F-9A8D-034BE8BC7EBF}" type="presParOf" srcId="{D1965DAB-1672-4C54-964A-A093373A319C}" destId="{5B444525-07DB-46A9-9054-2986EECE2B57}" srcOrd="2" destOrd="0" presId="urn:microsoft.com/office/officeart/2008/layout/LinedList"/>
    <dgm:cxn modelId="{BE116D21-89B3-40D2-B5E8-BA3245944BE2}" type="presParOf" srcId="{B6623659-A021-47C3-8612-3D3E0DFFACA1}" destId="{1E68391F-7812-4B33-8848-5C421C2D3F20}" srcOrd="2" destOrd="0" presId="urn:microsoft.com/office/officeart/2008/layout/LinedList"/>
    <dgm:cxn modelId="{B6D77FF8-930F-4B13-8ABD-687265357B9D}" type="presParOf" srcId="{B6623659-A021-47C3-8612-3D3E0DFFACA1}" destId="{A674D3D6-06B3-4F5D-9B93-8BD60F581873}" srcOrd="3" destOrd="0" presId="urn:microsoft.com/office/officeart/2008/layout/LinedList"/>
    <dgm:cxn modelId="{E7994306-F6C6-43CD-A5FC-DC4C419F5BFE}" type="presParOf" srcId="{B6623659-A021-47C3-8612-3D3E0DFFACA1}" destId="{E2F93BC7-68FA-40E4-8D68-87E2189E778D}" srcOrd="4" destOrd="0" presId="urn:microsoft.com/office/officeart/2008/layout/LinedList"/>
    <dgm:cxn modelId="{EDE1E1B7-D73E-41DA-89C0-86324F90F072}" type="presParOf" srcId="{E2F93BC7-68FA-40E4-8D68-87E2189E778D}" destId="{A2011984-36A2-4C00-9DB2-F3167749BCF9}" srcOrd="0" destOrd="0" presId="urn:microsoft.com/office/officeart/2008/layout/LinedList"/>
    <dgm:cxn modelId="{E1A5F7C3-7DE3-4F84-9548-A8DCB2CB4E7D}" type="presParOf" srcId="{E2F93BC7-68FA-40E4-8D68-87E2189E778D}" destId="{7239FD66-239C-4D8C-84AC-2028495692E1}" srcOrd="1" destOrd="0" presId="urn:microsoft.com/office/officeart/2008/layout/LinedList"/>
    <dgm:cxn modelId="{CD097636-825F-48AA-9492-4F160BDF2322}" type="presParOf" srcId="{E2F93BC7-68FA-40E4-8D68-87E2189E778D}" destId="{5A89AEAC-43BF-4086-8F7E-4955D0C29B92}" srcOrd="2" destOrd="0" presId="urn:microsoft.com/office/officeart/2008/layout/LinedList"/>
    <dgm:cxn modelId="{0BA9E818-B8FD-4F70-82A9-4AC1A6B0573C}" type="presParOf" srcId="{B6623659-A021-47C3-8612-3D3E0DFFACA1}" destId="{3C17B585-ADE1-4C14-A9AD-CB5E9129EC26}" srcOrd="5" destOrd="0" presId="urn:microsoft.com/office/officeart/2008/layout/LinedList"/>
    <dgm:cxn modelId="{4DB171E6-5F67-41A9-9A57-3288E234ABE9}" type="presParOf" srcId="{B6623659-A021-47C3-8612-3D3E0DFFACA1}" destId="{13BD34BB-6004-4D05-B295-679196FC88A7}" srcOrd="6" destOrd="0" presId="urn:microsoft.com/office/officeart/2008/layout/LinedList"/>
    <dgm:cxn modelId="{263E7154-703A-41F8-A54E-EDDCEE4875D5}" type="presParOf" srcId="{28826455-F1D9-41A2-B2FD-5ABC3A655F42}" destId="{8D158380-57EB-4A5C-8529-366B59968EDB}" srcOrd="2" destOrd="0" presId="urn:microsoft.com/office/officeart/2008/layout/LinedList"/>
    <dgm:cxn modelId="{3297B90C-F706-4B7B-9A23-0CADE1BB2E91}" type="presParOf" srcId="{28826455-F1D9-41A2-B2FD-5ABC3A655F42}" destId="{97EEDFCA-AF7B-404F-B520-CAC737A7C472}" srcOrd="3" destOrd="0" presId="urn:microsoft.com/office/officeart/2008/layout/LinedList"/>
    <dgm:cxn modelId="{41486F58-6AA1-4C78-A43E-690AC1A00E37}" type="presParOf" srcId="{97EEDFCA-AF7B-404F-B520-CAC737A7C472}" destId="{D954D7E1-9100-493B-87C4-76D3C2EA5B52}" srcOrd="0" destOrd="0" presId="urn:microsoft.com/office/officeart/2008/layout/LinedList"/>
    <dgm:cxn modelId="{2DFE3B65-D2FB-4971-9FB5-BC715159BB84}" type="presParOf" srcId="{97EEDFCA-AF7B-404F-B520-CAC737A7C472}" destId="{5C88D84F-0C00-4EEA-B8C6-33FC7DC471E6}" srcOrd="1" destOrd="0" presId="urn:microsoft.com/office/officeart/2008/layout/LinedList"/>
    <dgm:cxn modelId="{C16E2C4E-6226-40CF-9BAE-560D0665877B}" type="presParOf" srcId="{5C88D84F-0C00-4EEA-B8C6-33FC7DC471E6}" destId="{520D15F4-0AFA-4263-BD8A-1E71AF076BC9}" srcOrd="0" destOrd="0" presId="urn:microsoft.com/office/officeart/2008/layout/LinedList"/>
    <dgm:cxn modelId="{53BD8680-B4D3-4F69-9DD9-9329FC1BE333}" type="presParOf" srcId="{5C88D84F-0C00-4EEA-B8C6-33FC7DC471E6}" destId="{3B9B62B9-DDCB-41DF-86EE-8AD09C5B61DD}" srcOrd="1" destOrd="0" presId="urn:microsoft.com/office/officeart/2008/layout/LinedList"/>
    <dgm:cxn modelId="{1FFED4C3-6655-4618-BED0-2FF94CDAE0D6}" type="presParOf" srcId="{3B9B62B9-DDCB-41DF-86EE-8AD09C5B61DD}" destId="{13E0340A-A135-49AF-84B2-904184A098F3}" srcOrd="0" destOrd="0" presId="urn:microsoft.com/office/officeart/2008/layout/LinedList"/>
    <dgm:cxn modelId="{858DF578-61A4-4FCB-B9FB-6655F09A5A7B}" type="presParOf" srcId="{3B9B62B9-DDCB-41DF-86EE-8AD09C5B61DD}" destId="{BB2FC01C-3848-443B-829C-2926BC1AE93F}" srcOrd="1" destOrd="0" presId="urn:microsoft.com/office/officeart/2008/layout/LinedList"/>
    <dgm:cxn modelId="{7DA835B2-40A7-4CF7-B845-CF93844DBEE2}" type="presParOf" srcId="{3B9B62B9-DDCB-41DF-86EE-8AD09C5B61DD}" destId="{89C10793-67EF-4785-81AC-10B895AB0350}" srcOrd="2" destOrd="0" presId="urn:microsoft.com/office/officeart/2008/layout/LinedList"/>
    <dgm:cxn modelId="{73337D45-4A7E-440B-99C0-CF30D8ECF763}" type="presParOf" srcId="{5C88D84F-0C00-4EEA-B8C6-33FC7DC471E6}" destId="{C64FCA69-9840-4EE3-81EE-DF0C3080B4F9}" srcOrd="2" destOrd="0" presId="urn:microsoft.com/office/officeart/2008/layout/LinedList"/>
    <dgm:cxn modelId="{E443CC88-B632-4C78-81AC-1E3A4E27F63B}" type="presParOf" srcId="{5C88D84F-0C00-4EEA-B8C6-33FC7DC471E6}" destId="{5BB0B836-09F7-4220-9B2A-1D6DB0C74037}" srcOrd="3" destOrd="0" presId="urn:microsoft.com/office/officeart/2008/layout/LinedList"/>
    <dgm:cxn modelId="{BC1398A8-5AD5-4786-8BB1-60D0E93C101C}" type="presParOf" srcId="{5C88D84F-0C00-4EEA-B8C6-33FC7DC471E6}" destId="{69C1702A-4CD0-4C3E-8BF2-F18E7650640E}" srcOrd="4" destOrd="0" presId="urn:microsoft.com/office/officeart/2008/layout/LinedList"/>
    <dgm:cxn modelId="{2693838F-64FD-4F1F-AAB4-5A2FE4200436}" type="presParOf" srcId="{69C1702A-4CD0-4C3E-8BF2-F18E7650640E}" destId="{D3EBF7D9-4572-4441-9119-E2A4816B2DF0}" srcOrd="0" destOrd="0" presId="urn:microsoft.com/office/officeart/2008/layout/LinedList"/>
    <dgm:cxn modelId="{93FA89E7-3E80-4266-86A3-C3C8299F36B8}" type="presParOf" srcId="{69C1702A-4CD0-4C3E-8BF2-F18E7650640E}" destId="{1B9C0841-883D-499E-99BE-355B3674F638}" srcOrd="1" destOrd="0" presId="urn:microsoft.com/office/officeart/2008/layout/LinedList"/>
    <dgm:cxn modelId="{859802AC-BD90-4071-9CF3-AAE72D93B3C3}" type="presParOf" srcId="{69C1702A-4CD0-4C3E-8BF2-F18E7650640E}" destId="{536DD15D-EB64-4E73-88E7-F5CCF0A31BAD}" srcOrd="2" destOrd="0" presId="urn:microsoft.com/office/officeart/2008/layout/LinedList"/>
    <dgm:cxn modelId="{F3A94FCE-C37C-414F-94DE-6F7BD93C2240}" type="presParOf" srcId="{5C88D84F-0C00-4EEA-B8C6-33FC7DC471E6}" destId="{A6377CBD-2F3E-4792-B79E-7F52C94965A2}" srcOrd="5" destOrd="0" presId="urn:microsoft.com/office/officeart/2008/layout/LinedList"/>
    <dgm:cxn modelId="{883806A7-56FA-4674-9A88-96F123A8C074}" type="presParOf" srcId="{5C88D84F-0C00-4EEA-B8C6-33FC7DC471E6}" destId="{D869F2C5-C583-4414-90CB-017DACD124B5}" srcOrd="6" destOrd="0" presId="urn:microsoft.com/office/officeart/2008/layout/LinedList"/>
    <dgm:cxn modelId="{428B708B-5C74-42D7-91C2-B5D74E0B3FA7}" type="presParOf" srcId="{28826455-F1D9-41A2-B2FD-5ABC3A655F42}" destId="{4A463BFA-D915-4536-BCF6-D61E91DF38D1}" srcOrd="4" destOrd="0" presId="urn:microsoft.com/office/officeart/2008/layout/LinedList"/>
    <dgm:cxn modelId="{6BF244D0-18BF-4E50-A312-82E5ADBA0DAA}" type="presParOf" srcId="{28826455-F1D9-41A2-B2FD-5ABC3A655F42}" destId="{DF8A539D-C153-4CBE-846B-E1F02F37ACFC}" srcOrd="5" destOrd="0" presId="urn:microsoft.com/office/officeart/2008/layout/LinedList"/>
    <dgm:cxn modelId="{EF482C3A-2701-4A7C-A490-33379797E2F2}" type="presParOf" srcId="{DF8A539D-C153-4CBE-846B-E1F02F37ACFC}" destId="{7B19BE75-0A4F-4E60-A24D-630394B70B3D}" srcOrd="0" destOrd="0" presId="urn:microsoft.com/office/officeart/2008/layout/LinedList"/>
    <dgm:cxn modelId="{506640E2-3662-4BCC-B668-E2A5D2A4B892}" type="presParOf" srcId="{DF8A539D-C153-4CBE-846B-E1F02F37ACFC}" destId="{BC93DCD0-DF48-43F8-B18C-71BECED77BA3}" srcOrd="1" destOrd="0" presId="urn:microsoft.com/office/officeart/2008/layout/LinedList"/>
    <dgm:cxn modelId="{E02484F1-A863-4202-8911-C5A93FB931C4}" type="presParOf" srcId="{28826455-F1D9-41A2-B2FD-5ABC3A655F42}" destId="{B3C77CFC-ADA0-4927-A303-248261C595B8}" srcOrd="6" destOrd="0" presId="urn:microsoft.com/office/officeart/2008/layout/LinedList"/>
    <dgm:cxn modelId="{78840DFC-9F1B-422B-93E5-499EAFB527A9}" type="presParOf" srcId="{28826455-F1D9-41A2-B2FD-5ABC3A655F42}" destId="{96DF6E8B-D610-48CA-A62D-EB2D040F69F0}" srcOrd="7" destOrd="0" presId="urn:microsoft.com/office/officeart/2008/layout/LinedList"/>
    <dgm:cxn modelId="{22ED4FCA-75E5-4DE0-A240-5986C5D68FD7}" type="presParOf" srcId="{96DF6E8B-D610-48CA-A62D-EB2D040F69F0}" destId="{4ECE56F9-8C96-4D45-A489-298CFE3B4309}" srcOrd="0" destOrd="0" presId="urn:microsoft.com/office/officeart/2008/layout/LinedList"/>
    <dgm:cxn modelId="{087388CB-B08D-4AAF-B7F4-62ABA8F90822}" type="presParOf" srcId="{96DF6E8B-D610-48CA-A62D-EB2D040F69F0}" destId="{1DD32C88-3DAC-4335-B33F-3F0C67FAADA5}" srcOrd="1"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C037A21-5B35-4ACA-94AE-10CFC13A0AE2}"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290157AD-D1EC-415F-9239-0B5D2ECCCF53}">
      <dgm:prSet phldrT="[Tex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Strength</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45A8705B-06CC-4C0A-B211-F488E02D57EB}" type="parTrans" cxnId="{B60AA0B4-B15F-416A-AA0A-804A65B5788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9F86799D-26A6-4CEC-AD0E-B77AEDC6BB18}" type="sibTrans" cxnId="{B60AA0B4-B15F-416A-AA0A-804A65B5788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2B6B0689-D477-4F2B-A77A-DB99FAB95B6A}">
      <dgm:prSet phldrT="[Text]" custT="1"/>
      <dgm:spPr/>
      <dgm:t>
        <a:bodyPr anchor="ctr"/>
        <a:lstStyle/>
        <a:p>
          <a:pPr algn="just">
            <a:lnSpc>
              <a:spcPct val="100000"/>
            </a:lnSpc>
            <a:spcAft>
              <a:spcPts val="600"/>
            </a:spcAft>
          </a:pPr>
          <a:r>
            <a:rPr lang="en-US" sz="2200" dirty="0" smtClean="0">
              <a:solidFill>
                <a:schemeClr val="tx2"/>
              </a:solidFill>
              <a:latin typeface="Arial" panose="020B0604020202020204" pitchFamily="34" charset="0"/>
              <a:ea typeface="Tahoma" panose="020B0604030504040204" pitchFamily="34" charset="0"/>
              <a:cs typeface="Arial" panose="020B0604020202020204" pitchFamily="34" charset="0"/>
            </a:rPr>
            <a:t>Financial Health + Ratings</a:t>
          </a:r>
          <a:endParaRPr lang="en-US" sz="22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D5EE8074-A664-4435-A033-44D8671DE372}" type="parTrans" cxnId="{4A211D85-2371-4607-9F7D-0FB97C26A09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2D2BAB54-522F-416E-99F8-2965D47E6D60}" type="sibTrans" cxnId="{4A211D85-2371-4607-9F7D-0FB97C26A09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5E98C998-9C62-4CDD-884A-A5CC06E9060E}">
      <dgm:prSet phldrT="[Text]" custT="1"/>
      <dgm:spPr/>
      <dgm:t>
        <a:bodyPr anchor="ctr"/>
        <a:lstStyle/>
        <a:p>
          <a:pPr algn="just">
            <a:lnSpc>
              <a:spcPct val="100000"/>
            </a:lnSpc>
            <a:spcAft>
              <a:spcPts val="600"/>
            </a:spcAft>
          </a:pPr>
          <a:r>
            <a:rPr lang="en-US" altLang="en-US" sz="2200" dirty="0" smtClean="0">
              <a:solidFill>
                <a:schemeClr val="tx2"/>
              </a:solidFill>
              <a:latin typeface="Trebuchet MS" panose="020B0703020202090204" pitchFamily="34" charset="0"/>
              <a:ea typeface="Trebuchet MS" panose="020B0703020202090204" pitchFamily="34" charset="0"/>
              <a:cs typeface="Trebuchet MS" panose="020B0703020202090204" pitchFamily="34" charset="0"/>
            </a:rPr>
            <a:t>Know what you are purchasing—</a:t>
          </a:r>
        </a:p>
        <a:p>
          <a:pPr algn="just">
            <a:lnSpc>
              <a:spcPct val="100000"/>
            </a:lnSpc>
            <a:spcAft>
              <a:spcPts val="600"/>
            </a:spcAft>
          </a:pPr>
          <a:r>
            <a:rPr lang="en-US" altLang="en-US" sz="2200" dirty="0" smtClean="0">
              <a:solidFill>
                <a:schemeClr val="tx2"/>
              </a:solidFill>
              <a:latin typeface="Trebuchet MS" panose="020B0703020202090204" pitchFamily="34" charset="0"/>
              <a:ea typeface="Trebuchet MS" panose="020B0703020202090204" pitchFamily="34" charset="0"/>
              <a:cs typeface="Trebuchet MS" panose="020B0703020202090204" pitchFamily="34" charset="0"/>
            </a:rPr>
            <a:t>   - Claims Made vs. Occurrence </a:t>
          </a:r>
        </a:p>
        <a:p>
          <a:pPr algn="just">
            <a:lnSpc>
              <a:spcPct val="100000"/>
            </a:lnSpc>
            <a:spcAft>
              <a:spcPts val="600"/>
            </a:spcAft>
          </a:pPr>
          <a:r>
            <a:rPr lang="en-US" altLang="en-US" sz="2200" dirty="0" smtClean="0">
              <a:solidFill>
                <a:schemeClr val="tx2"/>
              </a:solidFill>
              <a:latin typeface="Trebuchet MS" panose="020B0703020202090204" pitchFamily="34" charset="0"/>
              <a:ea typeface="Trebuchet MS" panose="020B0703020202090204" pitchFamily="34" charset="0"/>
              <a:cs typeface="Trebuchet MS" panose="020B0703020202090204" pitchFamily="34" charset="0"/>
            </a:rPr>
            <a:t>   - Consent to Settle </a:t>
          </a:r>
        </a:p>
      </dgm:t>
    </dgm:pt>
    <dgm:pt modelId="{6CE1AFF2-F6CC-461A-847E-1521C7182F29}" type="parTrans" cxnId="{6360671E-9257-4392-AE8C-7939772ED04D}">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6FED17A8-16F6-41F0-914E-40DD0BEF684C}" type="sibTrans" cxnId="{6360671E-9257-4392-AE8C-7939772ED04D}">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7EF9F068-E581-4296-9DD7-6F89798317BC}">
      <dgm:prSet phldrT="[Text]" custT="1"/>
      <dgm:spPr/>
      <dgm:t>
        <a:bodyPr/>
        <a:lstStyle/>
        <a:p>
          <a:r>
            <a:rPr lang="en-US" sz="22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Coverage</a:t>
          </a:r>
          <a:endParaRPr lang="en-US" sz="22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C72F041C-A293-4D8A-8CBA-5FAECB7E0BA0}" type="parTrans" cxnId="{AAE57950-D258-4898-81ED-8551AC5816B0}">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D6CCAE8E-E72C-4EAA-A34D-100B48A41019}" type="sibTrans" cxnId="{AAE57950-D258-4898-81ED-8551AC5816B0}">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3FA25071-440B-4E71-B5A6-0FAB6FB3A85A}">
      <dgm:prSet phldrT="[Text]" custT="1"/>
      <dgm:spPr/>
      <dgm:t>
        <a:bodyPr anchor="ctr"/>
        <a:lstStyle/>
        <a:p>
          <a:pPr algn="just">
            <a:lnSpc>
              <a:spcPct val="100000"/>
            </a:lnSpc>
            <a:spcAft>
              <a:spcPts val="600"/>
            </a:spcAft>
          </a:pPr>
          <a:r>
            <a:rPr lang="en-US" sz="2200" dirty="0" smtClean="0">
              <a:solidFill>
                <a:schemeClr val="tx2"/>
              </a:solidFill>
              <a:latin typeface="Arial" panose="020B0604020202020204" pitchFamily="34" charset="0"/>
              <a:ea typeface="Tahoma" panose="020B0604030504040204" pitchFamily="34" charset="0"/>
              <a:cs typeface="Arial" panose="020B0604020202020204" pitchFamily="34" charset="0"/>
            </a:rPr>
            <a:t>On-Site teams with depth + experience</a:t>
          </a:r>
        </a:p>
        <a:p>
          <a:pPr algn="just">
            <a:lnSpc>
              <a:spcPct val="100000"/>
            </a:lnSpc>
            <a:spcAft>
              <a:spcPts val="600"/>
            </a:spcAft>
          </a:pPr>
          <a:r>
            <a:rPr lang="en-US" sz="2200" dirty="0" smtClean="0">
              <a:solidFill>
                <a:schemeClr val="tx2"/>
              </a:solidFill>
              <a:latin typeface="Arial" panose="020B0604020202020204" pitchFamily="34" charset="0"/>
              <a:ea typeface="Tahoma" panose="020B0604030504040204" pitchFamily="34" charset="0"/>
              <a:cs typeface="Arial" panose="020B0604020202020204" pitchFamily="34" charset="0"/>
            </a:rPr>
            <a:t>Ability to discuss w/ experts in real-time + developing situations </a:t>
          </a:r>
        </a:p>
        <a:p>
          <a:pPr algn="just">
            <a:lnSpc>
              <a:spcPct val="100000"/>
            </a:lnSpc>
            <a:spcAft>
              <a:spcPts val="600"/>
            </a:spcAft>
          </a:pPr>
          <a:r>
            <a:rPr lang="en-US" sz="2200" dirty="0" smtClean="0">
              <a:solidFill>
                <a:schemeClr val="tx2"/>
              </a:solidFill>
              <a:latin typeface="Arial" panose="020B0604020202020204" pitchFamily="34" charset="0"/>
              <a:ea typeface="Tahoma" panose="020B0604030504040204" pitchFamily="34" charset="0"/>
              <a:cs typeface="Arial" panose="020B0604020202020204" pitchFamily="34" charset="0"/>
            </a:rPr>
            <a:t>Expertise in nationwide defense counsel </a:t>
          </a:r>
          <a:endParaRPr lang="en-US" sz="22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A897BD9-0BE3-4745-9FB8-914BAF6276A0}" type="parTrans" cxnId="{8A20470F-1F0C-4A62-89C7-37862D869ED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AB8CF48F-D685-4202-B670-89FD5D9C3367}" type="sibTrans" cxnId="{8A20470F-1F0C-4A62-89C7-37862D869ED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1C8E6353-7F93-4B89-B209-DABE5FE3D21B}">
      <dgm:prSet phldrT="[Text]" custT="1"/>
      <dgm:spPr/>
      <dgm:t>
        <a:bodyPr anchor="ctr"/>
        <a:lstStyle/>
        <a:p>
          <a:pPr>
            <a:lnSpc>
              <a:spcPct val="100000"/>
            </a:lnSpc>
            <a:spcAft>
              <a:spcPts val="600"/>
            </a:spcAft>
          </a:pPr>
          <a:r>
            <a:rPr lang="en-US" altLang="en-US" sz="2200" dirty="0" smtClean="0">
              <a:solidFill>
                <a:schemeClr val="tx2"/>
              </a:solidFill>
              <a:latin typeface="+mj-lt"/>
              <a:ea typeface="Trebuchet MS" panose="020B0703020202090204" pitchFamily="34" charset="0"/>
              <a:cs typeface="Trebuchet MS" panose="020B0703020202090204" pitchFamily="34" charset="0"/>
            </a:rPr>
            <a:t>Avoid sacrificing quality for cost</a:t>
          </a:r>
          <a:endParaRPr lang="en-US" sz="2200" dirty="0" smtClean="0">
            <a:solidFill>
              <a:schemeClr val="tx2"/>
            </a:solidFill>
            <a:latin typeface="+mj-lt"/>
            <a:ea typeface="Tahoma" panose="020B0604030504040204" pitchFamily="34" charset="0"/>
            <a:cs typeface="Arial" panose="020B0604020202020204" pitchFamily="34" charset="0"/>
          </a:endParaRPr>
        </a:p>
      </dgm:t>
    </dgm:pt>
    <dgm:pt modelId="{26D3B17D-3BBC-4026-8AEB-390CE057847E}" type="parTrans" cxnId="{00F1E82A-F2B4-4EBE-BF85-36A211939B9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CF541877-2B49-4A73-8232-AC9FF4AFF349}" type="sibTrans" cxnId="{00F1E82A-F2B4-4EBE-BF85-36A211939B9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65F56F19-B7E0-428B-8A61-6F8A55E0A7E4}">
      <dgm:prSe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Risk &amp;</a:t>
          </a:r>
        </a:p>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Claims</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6A556682-1A70-498E-8732-381D3686E3A1}" type="parTrans" cxnId="{95D3C35C-6629-4934-ABC9-63852F645B41}">
      <dgm:prSet/>
      <dgm:spPr/>
      <dgm:t>
        <a:bodyPr/>
        <a:lstStyle/>
        <a:p>
          <a:endParaRPr lang="en-US"/>
        </a:p>
      </dgm:t>
    </dgm:pt>
    <dgm:pt modelId="{21B29E32-BF95-4604-BD12-D06B536927A3}" type="sibTrans" cxnId="{95D3C35C-6629-4934-ABC9-63852F645B41}">
      <dgm:prSet/>
      <dgm:spPr/>
      <dgm:t>
        <a:bodyPr/>
        <a:lstStyle/>
        <a:p>
          <a:endParaRPr lang="en-US"/>
        </a:p>
      </dgm:t>
    </dgm:pt>
    <dgm:pt modelId="{0BD87BF9-6365-492C-B4F3-ACD719B6293F}">
      <dgm:prSe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Price</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B0CE821E-66FB-4E9B-9F72-F0683237B013}" type="parTrans" cxnId="{D1466B68-DFF7-4ECE-A674-8158291593BB}">
      <dgm:prSet/>
      <dgm:spPr/>
      <dgm:t>
        <a:bodyPr/>
        <a:lstStyle/>
        <a:p>
          <a:endParaRPr lang="en-US"/>
        </a:p>
      </dgm:t>
    </dgm:pt>
    <dgm:pt modelId="{CA38D87B-8B5E-49DB-AE97-BA8B1C952FD0}" type="sibTrans" cxnId="{D1466B68-DFF7-4ECE-A674-8158291593BB}">
      <dgm:prSet/>
      <dgm:spPr/>
      <dgm:t>
        <a:bodyPr/>
        <a:lstStyle/>
        <a:p>
          <a:endParaRPr lang="en-US"/>
        </a:p>
      </dgm:t>
    </dgm:pt>
    <dgm:pt modelId="{28826455-F1D9-41A2-B2FD-5ABC3A655F42}" type="pres">
      <dgm:prSet presAssocID="{8C037A21-5B35-4ACA-94AE-10CFC13A0AE2}" presName="vert0" presStyleCnt="0">
        <dgm:presLayoutVars>
          <dgm:dir/>
          <dgm:animOne val="branch"/>
          <dgm:animLvl val="lvl"/>
        </dgm:presLayoutVars>
      </dgm:prSet>
      <dgm:spPr/>
      <dgm:t>
        <a:bodyPr/>
        <a:lstStyle/>
        <a:p>
          <a:endParaRPr lang="en-US"/>
        </a:p>
      </dgm:t>
    </dgm:pt>
    <dgm:pt modelId="{70F9B691-8599-4816-9830-07B5F49AD67C}" type="pres">
      <dgm:prSet presAssocID="{290157AD-D1EC-415F-9239-0B5D2ECCCF53}" presName="thickLine" presStyleLbl="alignNode1" presStyleIdx="0" presStyleCnt="4" custLinFactNeighborY="-28864"/>
      <dgm:spPr/>
    </dgm:pt>
    <dgm:pt modelId="{B8E2F443-21C5-4EA3-B12B-DD363A5A379E}" type="pres">
      <dgm:prSet presAssocID="{290157AD-D1EC-415F-9239-0B5D2ECCCF53}" presName="horz1" presStyleCnt="0"/>
      <dgm:spPr/>
    </dgm:pt>
    <dgm:pt modelId="{DA9198D2-77EF-4653-9EC3-92C9E130CD6B}" type="pres">
      <dgm:prSet presAssocID="{290157AD-D1EC-415F-9239-0B5D2ECCCF53}" presName="tx1" presStyleLbl="revTx" presStyleIdx="0" presStyleCnt="8" custScaleY="28414" custLinFactNeighborY="6246"/>
      <dgm:spPr/>
      <dgm:t>
        <a:bodyPr/>
        <a:lstStyle/>
        <a:p>
          <a:endParaRPr lang="en-US"/>
        </a:p>
      </dgm:t>
    </dgm:pt>
    <dgm:pt modelId="{B6623659-A021-47C3-8612-3D3E0DFFACA1}" type="pres">
      <dgm:prSet presAssocID="{290157AD-D1EC-415F-9239-0B5D2ECCCF53}" presName="vert1" presStyleCnt="0"/>
      <dgm:spPr/>
    </dgm:pt>
    <dgm:pt modelId="{5C7FAC01-DEE2-4CD0-945C-192F9D47ED26}" type="pres">
      <dgm:prSet presAssocID="{2B6B0689-D477-4F2B-A77A-DB99FAB95B6A}" presName="vertSpace2a" presStyleCnt="0"/>
      <dgm:spPr/>
    </dgm:pt>
    <dgm:pt modelId="{D1965DAB-1672-4C54-964A-A093373A319C}" type="pres">
      <dgm:prSet presAssocID="{2B6B0689-D477-4F2B-A77A-DB99FAB95B6A}" presName="horz2" presStyleCnt="0"/>
      <dgm:spPr/>
    </dgm:pt>
    <dgm:pt modelId="{EEEC334D-8D86-447E-9403-13483ADEE922}" type="pres">
      <dgm:prSet presAssocID="{2B6B0689-D477-4F2B-A77A-DB99FAB95B6A}" presName="horzSpace2" presStyleCnt="0"/>
      <dgm:spPr/>
    </dgm:pt>
    <dgm:pt modelId="{C5CFBBCA-CC56-4A49-ABEB-FBDD6D4E912F}" type="pres">
      <dgm:prSet presAssocID="{2B6B0689-D477-4F2B-A77A-DB99FAB95B6A}" presName="tx2" presStyleLbl="revTx" presStyleIdx="1" presStyleCnt="8" custScaleY="74343" custLinFactNeighborX="0" custLinFactNeighborY="626"/>
      <dgm:spPr/>
      <dgm:t>
        <a:bodyPr/>
        <a:lstStyle/>
        <a:p>
          <a:endParaRPr lang="en-US"/>
        </a:p>
      </dgm:t>
    </dgm:pt>
    <dgm:pt modelId="{5B444525-07DB-46A9-9054-2986EECE2B57}" type="pres">
      <dgm:prSet presAssocID="{2B6B0689-D477-4F2B-A77A-DB99FAB95B6A}" presName="vert2" presStyleCnt="0"/>
      <dgm:spPr/>
    </dgm:pt>
    <dgm:pt modelId="{1E68391F-7812-4B33-8848-5C421C2D3F20}" type="pres">
      <dgm:prSet presAssocID="{2B6B0689-D477-4F2B-A77A-DB99FAB95B6A}" presName="thinLine2b" presStyleLbl="callout" presStyleIdx="0" presStyleCnt="4" custLinFactNeighborX="0" custLinFactNeighborY="-78863"/>
      <dgm:spPr/>
    </dgm:pt>
    <dgm:pt modelId="{A674D3D6-06B3-4F5D-9B93-8BD60F581873}" type="pres">
      <dgm:prSet presAssocID="{2B6B0689-D477-4F2B-A77A-DB99FAB95B6A}" presName="vertSpace2b" presStyleCnt="0"/>
      <dgm:spPr/>
    </dgm:pt>
    <dgm:pt modelId="{E2F93BC7-68FA-40E4-8D68-87E2189E778D}" type="pres">
      <dgm:prSet presAssocID="{5E98C998-9C62-4CDD-884A-A5CC06E9060E}" presName="horz2" presStyleCnt="0"/>
      <dgm:spPr/>
    </dgm:pt>
    <dgm:pt modelId="{A2011984-36A2-4C00-9DB2-F3167749BCF9}" type="pres">
      <dgm:prSet presAssocID="{5E98C998-9C62-4CDD-884A-A5CC06E9060E}" presName="horzSpace2" presStyleCnt="0"/>
      <dgm:spPr/>
    </dgm:pt>
    <dgm:pt modelId="{7239FD66-239C-4D8C-84AC-2028495692E1}" type="pres">
      <dgm:prSet presAssocID="{5E98C998-9C62-4CDD-884A-A5CC06E9060E}" presName="tx2" presStyleLbl="revTx" presStyleIdx="2" presStyleCnt="8" custLinFactNeighborX="0" custLinFactNeighborY="19134"/>
      <dgm:spPr/>
      <dgm:t>
        <a:bodyPr/>
        <a:lstStyle/>
        <a:p>
          <a:endParaRPr lang="en-US"/>
        </a:p>
      </dgm:t>
    </dgm:pt>
    <dgm:pt modelId="{5A89AEAC-43BF-4086-8F7E-4955D0C29B92}" type="pres">
      <dgm:prSet presAssocID="{5E98C998-9C62-4CDD-884A-A5CC06E9060E}" presName="vert2" presStyleCnt="0"/>
      <dgm:spPr/>
    </dgm:pt>
    <dgm:pt modelId="{3C17B585-ADE1-4C14-A9AD-CB5E9129EC26}" type="pres">
      <dgm:prSet presAssocID="{5E98C998-9C62-4CDD-884A-A5CC06E9060E}" presName="thinLine2b" presStyleLbl="callout" presStyleIdx="1" presStyleCnt="4" custLinFactY="300000" custLinFactNeighborX="0" custLinFactNeighborY="339641"/>
      <dgm:spPr/>
    </dgm:pt>
    <dgm:pt modelId="{13BD34BB-6004-4D05-B295-679196FC88A7}" type="pres">
      <dgm:prSet presAssocID="{5E98C998-9C62-4CDD-884A-A5CC06E9060E}" presName="vertSpace2b" presStyleCnt="0"/>
      <dgm:spPr/>
    </dgm:pt>
    <dgm:pt modelId="{8D158380-57EB-4A5C-8529-366B59968EDB}" type="pres">
      <dgm:prSet presAssocID="{7EF9F068-E581-4296-9DD7-6F89798317BC}" presName="thickLine" presStyleLbl="alignNode1" presStyleIdx="1" presStyleCnt="4" custLinFactNeighborY="19019"/>
      <dgm:spPr/>
    </dgm:pt>
    <dgm:pt modelId="{97EEDFCA-AF7B-404F-B520-CAC737A7C472}" type="pres">
      <dgm:prSet presAssocID="{7EF9F068-E581-4296-9DD7-6F89798317BC}" presName="horz1" presStyleCnt="0"/>
      <dgm:spPr/>
    </dgm:pt>
    <dgm:pt modelId="{D954D7E1-9100-493B-87C4-76D3C2EA5B52}" type="pres">
      <dgm:prSet presAssocID="{7EF9F068-E581-4296-9DD7-6F89798317BC}" presName="tx1" presStyleLbl="revTx" presStyleIdx="3" presStyleCnt="8" custScaleX="116773" custScaleY="18337" custLinFactNeighborY="-51237"/>
      <dgm:spPr/>
      <dgm:t>
        <a:bodyPr/>
        <a:lstStyle/>
        <a:p>
          <a:endParaRPr lang="en-US"/>
        </a:p>
      </dgm:t>
    </dgm:pt>
    <dgm:pt modelId="{5C88D84F-0C00-4EEA-B8C6-33FC7DC471E6}" type="pres">
      <dgm:prSet presAssocID="{7EF9F068-E581-4296-9DD7-6F89798317BC}" presName="vert1" presStyleCnt="0"/>
      <dgm:spPr/>
    </dgm:pt>
    <dgm:pt modelId="{520D15F4-0AFA-4263-BD8A-1E71AF076BC9}" type="pres">
      <dgm:prSet presAssocID="{3FA25071-440B-4E71-B5A6-0FAB6FB3A85A}" presName="vertSpace2a" presStyleCnt="0"/>
      <dgm:spPr/>
    </dgm:pt>
    <dgm:pt modelId="{3B9B62B9-DDCB-41DF-86EE-8AD09C5B61DD}" type="pres">
      <dgm:prSet presAssocID="{3FA25071-440B-4E71-B5A6-0FAB6FB3A85A}" presName="horz2" presStyleCnt="0"/>
      <dgm:spPr/>
    </dgm:pt>
    <dgm:pt modelId="{13E0340A-A135-49AF-84B2-904184A098F3}" type="pres">
      <dgm:prSet presAssocID="{3FA25071-440B-4E71-B5A6-0FAB6FB3A85A}" presName="horzSpace2" presStyleCnt="0"/>
      <dgm:spPr/>
    </dgm:pt>
    <dgm:pt modelId="{BB2FC01C-3848-443B-829C-2926BC1AE93F}" type="pres">
      <dgm:prSet presAssocID="{3FA25071-440B-4E71-B5A6-0FAB6FB3A85A}" presName="tx2" presStyleLbl="revTx" presStyleIdx="4" presStyleCnt="8" custLinFactNeighborX="-1765" custLinFactNeighborY="47575"/>
      <dgm:spPr/>
      <dgm:t>
        <a:bodyPr/>
        <a:lstStyle/>
        <a:p>
          <a:endParaRPr lang="en-US"/>
        </a:p>
      </dgm:t>
    </dgm:pt>
    <dgm:pt modelId="{89C10793-67EF-4785-81AC-10B895AB0350}" type="pres">
      <dgm:prSet presAssocID="{3FA25071-440B-4E71-B5A6-0FAB6FB3A85A}" presName="vert2" presStyleCnt="0"/>
      <dgm:spPr/>
    </dgm:pt>
    <dgm:pt modelId="{C64FCA69-9840-4EE3-81EE-DF0C3080B4F9}" type="pres">
      <dgm:prSet presAssocID="{3FA25071-440B-4E71-B5A6-0FAB6FB3A85A}" presName="thinLine2b" presStyleLbl="callout" presStyleIdx="2" presStyleCnt="4" custLinFactY="700000" custLinFactNeighborX="100" custLinFactNeighborY="709874"/>
      <dgm:spPr/>
    </dgm:pt>
    <dgm:pt modelId="{5BB0B836-09F7-4220-9B2A-1D6DB0C74037}" type="pres">
      <dgm:prSet presAssocID="{3FA25071-440B-4E71-B5A6-0FAB6FB3A85A}" presName="vertSpace2b" presStyleCnt="0"/>
      <dgm:spPr/>
    </dgm:pt>
    <dgm:pt modelId="{69C1702A-4CD0-4C3E-8BF2-F18E7650640E}" type="pres">
      <dgm:prSet presAssocID="{1C8E6353-7F93-4B89-B209-DABE5FE3D21B}" presName="horz2" presStyleCnt="0"/>
      <dgm:spPr/>
    </dgm:pt>
    <dgm:pt modelId="{D3EBF7D9-4572-4441-9119-E2A4816B2DF0}" type="pres">
      <dgm:prSet presAssocID="{1C8E6353-7F93-4B89-B209-DABE5FE3D21B}" presName="horzSpace2" presStyleCnt="0"/>
      <dgm:spPr/>
    </dgm:pt>
    <dgm:pt modelId="{1B9C0841-883D-499E-99BE-355B3674F638}" type="pres">
      <dgm:prSet presAssocID="{1C8E6353-7F93-4B89-B209-DABE5FE3D21B}" presName="tx2" presStyleLbl="revTx" presStyleIdx="5" presStyleCnt="8" custScaleY="66115" custLinFactNeighborX="-1456" custLinFactNeighborY="46139"/>
      <dgm:spPr/>
      <dgm:t>
        <a:bodyPr/>
        <a:lstStyle/>
        <a:p>
          <a:endParaRPr lang="en-US"/>
        </a:p>
      </dgm:t>
    </dgm:pt>
    <dgm:pt modelId="{536DD15D-EB64-4E73-88E7-F5CCF0A31BAD}" type="pres">
      <dgm:prSet presAssocID="{1C8E6353-7F93-4B89-B209-DABE5FE3D21B}" presName="vert2" presStyleCnt="0"/>
      <dgm:spPr/>
    </dgm:pt>
    <dgm:pt modelId="{A6377CBD-2F3E-4792-B79E-7F52C94965A2}" type="pres">
      <dgm:prSet presAssocID="{1C8E6353-7F93-4B89-B209-DABE5FE3D21B}" presName="thinLine2b" presStyleLbl="callout" presStyleIdx="3" presStyleCnt="4" custLinFactY="1970611" custLinFactNeighborX="100" custLinFactNeighborY="2000000"/>
      <dgm:spPr/>
    </dgm:pt>
    <dgm:pt modelId="{D869F2C5-C583-4414-90CB-017DACD124B5}" type="pres">
      <dgm:prSet presAssocID="{1C8E6353-7F93-4B89-B209-DABE5FE3D21B}" presName="vertSpace2b" presStyleCnt="0"/>
      <dgm:spPr/>
    </dgm:pt>
    <dgm:pt modelId="{4A463BFA-D915-4536-BCF6-D61E91DF38D1}" type="pres">
      <dgm:prSet presAssocID="{65F56F19-B7E0-428B-8A61-6F8A55E0A7E4}" presName="thickLine" presStyleLbl="alignNode1" presStyleIdx="2" presStyleCnt="4" custLinFactY="400000" custLinFactNeighborX="80" custLinFactNeighborY="447855"/>
      <dgm:spPr/>
    </dgm:pt>
    <dgm:pt modelId="{DF8A539D-C153-4CBE-846B-E1F02F37ACFC}" type="pres">
      <dgm:prSet presAssocID="{65F56F19-B7E0-428B-8A61-6F8A55E0A7E4}" presName="horz1" presStyleCnt="0"/>
      <dgm:spPr/>
    </dgm:pt>
    <dgm:pt modelId="{7B19BE75-0A4F-4E60-A24D-630394B70B3D}" type="pres">
      <dgm:prSet presAssocID="{65F56F19-B7E0-428B-8A61-6F8A55E0A7E4}" presName="tx1" presStyleLbl="revTx" presStyleIdx="6" presStyleCnt="8" custScaleY="22715" custLinFactNeighborY="-71116"/>
      <dgm:spPr/>
      <dgm:t>
        <a:bodyPr/>
        <a:lstStyle/>
        <a:p>
          <a:endParaRPr lang="en-US"/>
        </a:p>
      </dgm:t>
    </dgm:pt>
    <dgm:pt modelId="{BC93DCD0-DF48-43F8-B18C-71BECED77BA3}" type="pres">
      <dgm:prSet presAssocID="{65F56F19-B7E0-428B-8A61-6F8A55E0A7E4}" presName="vert1" presStyleCnt="0"/>
      <dgm:spPr/>
    </dgm:pt>
    <dgm:pt modelId="{B3C77CFC-ADA0-4927-A303-248261C595B8}" type="pres">
      <dgm:prSet presAssocID="{0BD87BF9-6365-492C-B4F3-ACD719B6293F}" presName="thickLine" presStyleLbl="alignNode1" presStyleIdx="3" presStyleCnt="4" custLinFactNeighborY="72140"/>
      <dgm:spPr/>
    </dgm:pt>
    <dgm:pt modelId="{96DF6E8B-D610-48CA-A62D-EB2D040F69F0}" type="pres">
      <dgm:prSet presAssocID="{0BD87BF9-6365-492C-B4F3-ACD719B6293F}" presName="horz1" presStyleCnt="0"/>
      <dgm:spPr/>
    </dgm:pt>
    <dgm:pt modelId="{4ECE56F9-8C96-4D45-A489-298CFE3B4309}" type="pres">
      <dgm:prSet presAssocID="{0BD87BF9-6365-492C-B4F3-ACD719B6293F}" presName="tx1" presStyleLbl="revTx" presStyleIdx="7" presStyleCnt="8" custScaleY="31378" custLinFactNeighborY="-25662"/>
      <dgm:spPr/>
      <dgm:t>
        <a:bodyPr/>
        <a:lstStyle/>
        <a:p>
          <a:endParaRPr lang="en-US"/>
        </a:p>
      </dgm:t>
    </dgm:pt>
    <dgm:pt modelId="{1DD32C88-3DAC-4335-B33F-3F0C67FAADA5}" type="pres">
      <dgm:prSet presAssocID="{0BD87BF9-6365-492C-B4F3-ACD719B6293F}" presName="vert1" presStyleCnt="0"/>
      <dgm:spPr/>
    </dgm:pt>
  </dgm:ptLst>
  <dgm:cxnLst>
    <dgm:cxn modelId="{6360671E-9257-4392-AE8C-7939772ED04D}" srcId="{290157AD-D1EC-415F-9239-0B5D2ECCCF53}" destId="{5E98C998-9C62-4CDD-884A-A5CC06E9060E}" srcOrd="1" destOrd="0" parTransId="{6CE1AFF2-F6CC-461A-847E-1521C7182F29}" sibTransId="{6FED17A8-16F6-41F0-914E-40DD0BEF684C}"/>
    <dgm:cxn modelId="{B60AA0B4-B15F-416A-AA0A-804A65B5788C}" srcId="{8C037A21-5B35-4ACA-94AE-10CFC13A0AE2}" destId="{290157AD-D1EC-415F-9239-0B5D2ECCCF53}" srcOrd="0" destOrd="0" parTransId="{45A8705B-06CC-4C0A-B211-F488E02D57EB}" sibTransId="{9F86799D-26A6-4CEC-AD0E-B77AEDC6BB18}"/>
    <dgm:cxn modelId="{18FD232E-23B5-4806-9E50-9669F845B7D3}" type="presOf" srcId="{0BD87BF9-6365-492C-B4F3-ACD719B6293F}" destId="{4ECE56F9-8C96-4D45-A489-298CFE3B4309}" srcOrd="0" destOrd="0" presId="urn:microsoft.com/office/officeart/2008/layout/LinedList"/>
    <dgm:cxn modelId="{8A20470F-1F0C-4A62-89C7-37862D869ED8}" srcId="{7EF9F068-E581-4296-9DD7-6F89798317BC}" destId="{3FA25071-440B-4E71-B5A6-0FAB6FB3A85A}" srcOrd="0" destOrd="0" parTransId="{AA897BD9-0BE3-4745-9FB8-914BAF6276A0}" sibTransId="{AB8CF48F-D685-4202-B670-89FD5D9C3367}"/>
    <dgm:cxn modelId="{38E12276-4D7E-4AB7-BC52-97E27409C71C}" type="presOf" srcId="{290157AD-D1EC-415F-9239-0B5D2ECCCF53}" destId="{DA9198D2-77EF-4653-9EC3-92C9E130CD6B}" srcOrd="0" destOrd="0" presId="urn:microsoft.com/office/officeart/2008/layout/LinedList"/>
    <dgm:cxn modelId="{00F1E82A-F2B4-4EBE-BF85-36A211939B9C}" srcId="{7EF9F068-E581-4296-9DD7-6F89798317BC}" destId="{1C8E6353-7F93-4B89-B209-DABE5FE3D21B}" srcOrd="1" destOrd="0" parTransId="{26D3B17D-3BBC-4026-8AEB-390CE057847E}" sibTransId="{CF541877-2B49-4A73-8232-AC9FF4AFF349}"/>
    <dgm:cxn modelId="{C3D95988-ABA4-4FF3-961E-3E49FB3FBCCC}" type="presOf" srcId="{7EF9F068-E581-4296-9DD7-6F89798317BC}" destId="{D954D7E1-9100-493B-87C4-76D3C2EA5B52}" srcOrd="0" destOrd="0" presId="urn:microsoft.com/office/officeart/2008/layout/LinedList"/>
    <dgm:cxn modelId="{C0E9F05E-ED99-494E-9492-18BFB32F9E12}" type="presOf" srcId="{2B6B0689-D477-4F2B-A77A-DB99FAB95B6A}" destId="{C5CFBBCA-CC56-4A49-ABEB-FBDD6D4E912F}" srcOrd="0" destOrd="0" presId="urn:microsoft.com/office/officeart/2008/layout/LinedList"/>
    <dgm:cxn modelId="{95D3C35C-6629-4934-ABC9-63852F645B41}" srcId="{8C037A21-5B35-4ACA-94AE-10CFC13A0AE2}" destId="{65F56F19-B7E0-428B-8A61-6F8A55E0A7E4}" srcOrd="2" destOrd="0" parTransId="{6A556682-1A70-498E-8732-381D3686E3A1}" sibTransId="{21B29E32-BF95-4604-BD12-D06B536927A3}"/>
    <dgm:cxn modelId="{D1466B68-DFF7-4ECE-A674-8158291593BB}" srcId="{8C037A21-5B35-4ACA-94AE-10CFC13A0AE2}" destId="{0BD87BF9-6365-492C-B4F3-ACD719B6293F}" srcOrd="3" destOrd="0" parTransId="{B0CE821E-66FB-4E9B-9F72-F0683237B013}" sibTransId="{CA38D87B-8B5E-49DB-AE97-BA8B1C952FD0}"/>
    <dgm:cxn modelId="{C2C90967-8ACC-4C6B-A464-2D0A663B8360}" type="presOf" srcId="{5E98C998-9C62-4CDD-884A-A5CC06E9060E}" destId="{7239FD66-239C-4D8C-84AC-2028495692E1}" srcOrd="0" destOrd="0" presId="urn:microsoft.com/office/officeart/2008/layout/LinedList"/>
    <dgm:cxn modelId="{FDC2A3EC-2CA2-49E2-96FB-E3BF484FE31F}" type="presOf" srcId="{1C8E6353-7F93-4B89-B209-DABE5FE3D21B}" destId="{1B9C0841-883D-499E-99BE-355B3674F638}" srcOrd="0" destOrd="0" presId="urn:microsoft.com/office/officeart/2008/layout/LinedList"/>
    <dgm:cxn modelId="{0C1CEF2A-79EA-432B-9CCA-734834400583}" type="presOf" srcId="{65F56F19-B7E0-428B-8A61-6F8A55E0A7E4}" destId="{7B19BE75-0A4F-4E60-A24D-630394B70B3D}" srcOrd="0" destOrd="0" presId="urn:microsoft.com/office/officeart/2008/layout/LinedList"/>
    <dgm:cxn modelId="{400CBAC3-3F37-4F8F-B9FE-AE42F4CBEFBF}" type="presOf" srcId="{3FA25071-440B-4E71-B5A6-0FAB6FB3A85A}" destId="{BB2FC01C-3848-443B-829C-2926BC1AE93F}" srcOrd="0" destOrd="0" presId="urn:microsoft.com/office/officeart/2008/layout/LinedList"/>
    <dgm:cxn modelId="{4A211D85-2371-4607-9F7D-0FB97C26A098}" srcId="{290157AD-D1EC-415F-9239-0B5D2ECCCF53}" destId="{2B6B0689-D477-4F2B-A77A-DB99FAB95B6A}" srcOrd="0" destOrd="0" parTransId="{D5EE8074-A664-4435-A033-44D8671DE372}" sibTransId="{2D2BAB54-522F-416E-99F8-2965D47E6D60}"/>
    <dgm:cxn modelId="{AAE57950-D258-4898-81ED-8551AC5816B0}" srcId="{8C037A21-5B35-4ACA-94AE-10CFC13A0AE2}" destId="{7EF9F068-E581-4296-9DD7-6F89798317BC}" srcOrd="1" destOrd="0" parTransId="{C72F041C-A293-4D8A-8CBA-5FAECB7E0BA0}" sibTransId="{D6CCAE8E-E72C-4EAA-A34D-100B48A41019}"/>
    <dgm:cxn modelId="{07165232-038B-4D22-8BE7-EAD12CA2E839}" type="presOf" srcId="{8C037A21-5B35-4ACA-94AE-10CFC13A0AE2}" destId="{28826455-F1D9-41A2-B2FD-5ABC3A655F42}" srcOrd="0" destOrd="0" presId="urn:microsoft.com/office/officeart/2008/layout/LinedList"/>
    <dgm:cxn modelId="{AB85A8A0-CA5E-4904-B482-B00DB0AB3857}" type="presParOf" srcId="{28826455-F1D9-41A2-B2FD-5ABC3A655F42}" destId="{70F9B691-8599-4816-9830-07B5F49AD67C}" srcOrd="0" destOrd="0" presId="urn:microsoft.com/office/officeart/2008/layout/LinedList"/>
    <dgm:cxn modelId="{84934B27-4ACD-4068-A1CE-6F1626DB6CA4}" type="presParOf" srcId="{28826455-F1D9-41A2-B2FD-5ABC3A655F42}" destId="{B8E2F443-21C5-4EA3-B12B-DD363A5A379E}" srcOrd="1" destOrd="0" presId="urn:microsoft.com/office/officeart/2008/layout/LinedList"/>
    <dgm:cxn modelId="{C8885048-1863-4518-A2A4-C8B298E8CD9B}" type="presParOf" srcId="{B8E2F443-21C5-4EA3-B12B-DD363A5A379E}" destId="{DA9198D2-77EF-4653-9EC3-92C9E130CD6B}" srcOrd="0" destOrd="0" presId="urn:microsoft.com/office/officeart/2008/layout/LinedList"/>
    <dgm:cxn modelId="{C40F510A-7F04-4AA7-951E-BDDA8D30B138}" type="presParOf" srcId="{B8E2F443-21C5-4EA3-B12B-DD363A5A379E}" destId="{B6623659-A021-47C3-8612-3D3E0DFFACA1}" srcOrd="1" destOrd="0" presId="urn:microsoft.com/office/officeart/2008/layout/LinedList"/>
    <dgm:cxn modelId="{AF2422BD-5DB1-4500-A025-8C8A7C7EC577}" type="presParOf" srcId="{B6623659-A021-47C3-8612-3D3E0DFFACA1}" destId="{5C7FAC01-DEE2-4CD0-945C-192F9D47ED26}" srcOrd="0" destOrd="0" presId="urn:microsoft.com/office/officeart/2008/layout/LinedList"/>
    <dgm:cxn modelId="{0844EF2D-0591-4BBC-8584-293273CA2276}" type="presParOf" srcId="{B6623659-A021-47C3-8612-3D3E0DFFACA1}" destId="{D1965DAB-1672-4C54-964A-A093373A319C}" srcOrd="1" destOrd="0" presId="urn:microsoft.com/office/officeart/2008/layout/LinedList"/>
    <dgm:cxn modelId="{AFE20784-18DF-426F-927E-6751D41D4878}" type="presParOf" srcId="{D1965DAB-1672-4C54-964A-A093373A319C}" destId="{EEEC334D-8D86-447E-9403-13483ADEE922}" srcOrd="0" destOrd="0" presId="urn:microsoft.com/office/officeart/2008/layout/LinedList"/>
    <dgm:cxn modelId="{7597850D-B35F-4223-B97F-7BC583765407}" type="presParOf" srcId="{D1965DAB-1672-4C54-964A-A093373A319C}" destId="{C5CFBBCA-CC56-4A49-ABEB-FBDD6D4E912F}" srcOrd="1" destOrd="0" presId="urn:microsoft.com/office/officeart/2008/layout/LinedList"/>
    <dgm:cxn modelId="{A5FF32CB-A76E-438F-9A8D-034BE8BC7EBF}" type="presParOf" srcId="{D1965DAB-1672-4C54-964A-A093373A319C}" destId="{5B444525-07DB-46A9-9054-2986EECE2B57}" srcOrd="2" destOrd="0" presId="urn:microsoft.com/office/officeart/2008/layout/LinedList"/>
    <dgm:cxn modelId="{BE116D21-89B3-40D2-B5E8-BA3245944BE2}" type="presParOf" srcId="{B6623659-A021-47C3-8612-3D3E0DFFACA1}" destId="{1E68391F-7812-4B33-8848-5C421C2D3F20}" srcOrd="2" destOrd="0" presId="urn:microsoft.com/office/officeart/2008/layout/LinedList"/>
    <dgm:cxn modelId="{B6D77FF8-930F-4B13-8ABD-687265357B9D}" type="presParOf" srcId="{B6623659-A021-47C3-8612-3D3E0DFFACA1}" destId="{A674D3D6-06B3-4F5D-9B93-8BD60F581873}" srcOrd="3" destOrd="0" presId="urn:microsoft.com/office/officeart/2008/layout/LinedList"/>
    <dgm:cxn modelId="{E7994306-F6C6-43CD-A5FC-DC4C419F5BFE}" type="presParOf" srcId="{B6623659-A021-47C3-8612-3D3E0DFFACA1}" destId="{E2F93BC7-68FA-40E4-8D68-87E2189E778D}" srcOrd="4" destOrd="0" presId="urn:microsoft.com/office/officeart/2008/layout/LinedList"/>
    <dgm:cxn modelId="{EDE1E1B7-D73E-41DA-89C0-86324F90F072}" type="presParOf" srcId="{E2F93BC7-68FA-40E4-8D68-87E2189E778D}" destId="{A2011984-36A2-4C00-9DB2-F3167749BCF9}" srcOrd="0" destOrd="0" presId="urn:microsoft.com/office/officeart/2008/layout/LinedList"/>
    <dgm:cxn modelId="{E1A5F7C3-7DE3-4F84-9548-A8DCB2CB4E7D}" type="presParOf" srcId="{E2F93BC7-68FA-40E4-8D68-87E2189E778D}" destId="{7239FD66-239C-4D8C-84AC-2028495692E1}" srcOrd="1" destOrd="0" presId="urn:microsoft.com/office/officeart/2008/layout/LinedList"/>
    <dgm:cxn modelId="{CD097636-825F-48AA-9492-4F160BDF2322}" type="presParOf" srcId="{E2F93BC7-68FA-40E4-8D68-87E2189E778D}" destId="{5A89AEAC-43BF-4086-8F7E-4955D0C29B92}" srcOrd="2" destOrd="0" presId="urn:microsoft.com/office/officeart/2008/layout/LinedList"/>
    <dgm:cxn modelId="{0BA9E818-B8FD-4F70-82A9-4AC1A6B0573C}" type="presParOf" srcId="{B6623659-A021-47C3-8612-3D3E0DFFACA1}" destId="{3C17B585-ADE1-4C14-A9AD-CB5E9129EC26}" srcOrd="5" destOrd="0" presId="urn:microsoft.com/office/officeart/2008/layout/LinedList"/>
    <dgm:cxn modelId="{4DB171E6-5F67-41A9-9A57-3288E234ABE9}" type="presParOf" srcId="{B6623659-A021-47C3-8612-3D3E0DFFACA1}" destId="{13BD34BB-6004-4D05-B295-679196FC88A7}" srcOrd="6" destOrd="0" presId="urn:microsoft.com/office/officeart/2008/layout/LinedList"/>
    <dgm:cxn modelId="{263E7154-703A-41F8-A54E-EDDCEE4875D5}" type="presParOf" srcId="{28826455-F1D9-41A2-B2FD-5ABC3A655F42}" destId="{8D158380-57EB-4A5C-8529-366B59968EDB}" srcOrd="2" destOrd="0" presId="urn:microsoft.com/office/officeart/2008/layout/LinedList"/>
    <dgm:cxn modelId="{3297B90C-F706-4B7B-9A23-0CADE1BB2E91}" type="presParOf" srcId="{28826455-F1D9-41A2-B2FD-5ABC3A655F42}" destId="{97EEDFCA-AF7B-404F-B520-CAC737A7C472}" srcOrd="3" destOrd="0" presId="urn:microsoft.com/office/officeart/2008/layout/LinedList"/>
    <dgm:cxn modelId="{41486F58-6AA1-4C78-A43E-690AC1A00E37}" type="presParOf" srcId="{97EEDFCA-AF7B-404F-B520-CAC737A7C472}" destId="{D954D7E1-9100-493B-87C4-76D3C2EA5B52}" srcOrd="0" destOrd="0" presId="urn:microsoft.com/office/officeart/2008/layout/LinedList"/>
    <dgm:cxn modelId="{2DFE3B65-D2FB-4971-9FB5-BC715159BB84}" type="presParOf" srcId="{97EEDFCA-AF7B-404F-B520-CAC737A7C472}" destId="{5C88D84F-0C00-4EEA-B8C6-33FC7DC471E6}" srcOrd="1" destOrd="0" presId="urn:microsoft.com/office/officeart/2008/layout/LinedList"/>
    <dgm:cxn modelId="{C16E2C4E-6226-40CF-9BAE-560D0665877B}" type="presParOf" srcId="{5C88D84F-0C00-4EEA-B8C6-33FC7DC471E6}" destId="{520D15F4-0AFA-4263-BD8A-1E71AF076BC9}" srcOrd="0" destOrd="0" presId="urn:microsoft.com/office/officeart/2008/layout/LinedList"/>
    <dgm:cxn modelId="{53BD8680-B4D3-4F69-9DD9-9329FC1BE333}" type="presParOf" srcId="{5C88D84F-0C00-4EEA-B8C6-33FC7DC471E6}" destId="{3B9B62B9-DDCB-41DF-86EE-8AD09C5B61DD}" srcOrd="1" destOrd="0" presId="urn:microsoft.com/office/officeart/2008/layout/LinedList"/>
    <dgm:cxn modelId="{1FFED4C3-6655-4618-BED0-2FF94CDAE0D6}" type="presParOf" srcId="{3B9B62B9-DDCB-41DF-86EE-8AD09C5B61DD}" destId="{13E0340A-A135-49AF-84B2-904184A098F3}" srcOrd="0" destOrd="0" presId="urn:microsoft.com/office/officeart/2008/layout/LinedList"/>
    <dgm:cxn modelId="{858DF578-61A4-4FCB-B9FB-6655F09A5A7B}" type="presParOf" srcId="{3B9B62B9-DDCB-41DF-86EE-8AD09C5B61DD}" destId="{BB2FC01C-3848-443B-829C-2926BC1AE93F}" srcOrd="1" destOrd="0" presId="urn:microsoft.com/office/officeart/2008/layout/LinedList"/>
    <dgm:cxn modelId="{7DA835B2-40A7-4CF7-B845-CF93844DBEE2}" type="presParOf" srcId="{3B9B62B9-DDCB-41DF-86EE-8AD09C5B61DD}" destId="{89C10793-67EF-4785-81AC-10B895AB0350}" srcOrd="2" destOrd="0" presId="urn:microsoft.com/office/officeart/2008/layout/LinedList"/>
    <dgm:cxn modelId="{73337D45-4A7E-440B-99C0-CF30D8ECF763}" type="presParOf" srcId="{5C88D84F-0C00-4EEA-B8C6-33FC7DC471E6}" destId="{C64FCA69-9840-4EE3-81EE-DF0C3080B4F9}" srcOrd="2" destOrd="0" presId="urn:microsoft.com/office/officeart/2008/layout/LinedList"/>
    <dgm:cxn modelId="{E443CC88-B632-4C78-81AC-1E3A4E27F63B}" type="presParOf" srcId="{5C88D84F-0C00-4EEA-B8C6-33FC7DC471E6}" destId="{5BB0B836-09F7-4220-9B2A-1D6DB0C74037}" srcOrd="3" destOrd="0" presId="urn:microsoft.com/office/officeart/2008/layout/LinedList"/>
    <dgm:cxn modelId="{BC1398A8-5AD5-4786-8BB1-60D0E93C101C}" type="presParOf" srcId="{5C88D84F-0C00-4EEA-B8C6-33FC7DC471E6}" destId="{69C1702A-4CD0-4C3E-8BF2-F18E7650640E}" srcOrd="4" destOrd="0" presId="urn:microsoft.com/office/officeart/2008/layout/LinedList"/>
    <dgm:cxn modelId="{2693838F-64FD-4F1F-AAB4-5A2FE4200436}" type="presParOf" srcId="{69C1702A-4CD0-4C3E-8BF2-F18E7650640E}" destId="{D3EBF7D9-4572-4441-9119-E2A4816B2DF0}" srcOrd="0" destOrd="0" presId="urn:microsoft.com/office/officeart/2008/layout/LinedList"/>
    <dgm:cxn modelId="{93FA89E7-3E80-4266-86A3-C3C8299F36B8}" type="presParOf" srcId="{69C1702A-4CD0-4C3E-8BF2-F18E7650640E}" destId="{1B9C0841-883D-499E-99BE-355B3674F638}" srcOrd="1" destOrd="0" presId="urn:microsoft.com/office/officeart/2008/layout/LinedList"/>
    <dgm:cxn modelId="{859802AC-BD90-4071-9CF3-AAE72D93B3C3}" type="presParOf" srcId="{69C1702A-4CD0-4C3E-8BF2-F18E7650640E}" destId="{536DD15D-EB64-4E73-88E7-F5CCF0A31BAD}" srcOrd="2" destOrd="0" presId="urn:microsoft.com/office/officeart/2008/layout/LinedList"/>
    <dgm:cxn modelId="{F3A94FCE-C37C-414F-94DE-6F7BD93C2240}" type="presParOf" srcId="{5C88D84F-0C00-4EEA-B8C6-33FC7DC471E6}" destId="{A6377CBD-2F3E-4792-B79E-7F52C94965A2}" srcOrd="5" destOrd="0" presId="urn:microsoft.com/office/officeart/2008/layout/LinedList"/>
    <dgm:cxn modelId="{883806A7-56FA-4674-9A88-96F123A8C074}" type="presParOf" srcId="{5C88D84F-0C00-4EEA-B8C6-33FC7DC471E6}" destId="{D869F2C5-C583-4414-90CB-017DACD124B5}" srcOrd="6" destOrd="0" presId="urn:microsoft.com/office/officeart/2008/layout/LinedList"/>
    <dgm:cxn modelId="{428B708B-5C74-42D7-91C2-B5D74E0B3FA7}" type="presParOf" srcId="{28826455-F1D9-41A2-B2FD-5ABC3A655F42}" destId="{4A463BFA-D915-4536-BCF6-D61E91DF38D1}" srcOrd="4" destOrd="0" presId="urn:microsoft.com/office/officeart/2008/layout/LinedList"/>
    <dgm:cxn modelId="{6BF244D0-18BF-4E50-A312-82E5ADBA0DAA}" type="presParOf" srcId="{28826455-F1D9-41A2-B2FD-5ABC3A655F42}" destId="{DF8A539D-C153-4CBE-846B-E1F02F37ACFC}" srcOrd="5" destOrd="0" presId="urn:microsoft.com/office/officeart/2008/layout/LinedList"/>
    <dgm:cxn modelId="{EF482C3A-2701-4A7C-A490-33379797E2F2}" type="presParOf" srcId="{DF8A539D-C153-4CBE-846B-E1F02F37ACFC}" destId="{7B19BE75-0A4F-4E60-A24D-630394B70B3D}" srcOrd="0" destOrd="0" presId="urn:microsoft.com/office/officeart/2008/layout/LinedList"/>
    <dgm:cxn modelId="{506640E2-3662-4BCC-B668-E2A5D2A4B892}" type="presParOf" srcId="{DF8A539D-C153-4CBE-846B-E1F02F37ACFC}" destId="{BC93DCD0-DF48-43F8-B18C-71BECED77BA3}" srcOrd="1" destOrd="0" presId="urn:microsoft.com/office/officeart/2008/layout/LinedList"/>
    <dgm:cxn modelId="{E02484F1-A863-4202-8911-C5A93FB931C4}" type="presParOf" srcId="{28826455-F1D9-41A2-B2FD-5ABC3A655F42}" destId="{B3C77CFC-ADA0-4927-A303-248261C595B8}" srcOrd="6" destOrd="0" presId="urn:microsoft.com/office/officeart/2008/layout/LinedList"/>
    <dgm:cxn modelId="{78840DFC-9F1B-422B-93E5-499EAFB527A9}" type="presParOf" srcId="{28826455-F1D9-41A2-B2FD-5ABC3A655F42}" destId="{96DF6E8B-D610-48CA-A62D-EB2D040F69F0}" srcOrd="7" destOrd="0" presId="urn:microsoft.com/office/officeart/2008/layout/LinedList"/>
    <dgm:cxn modelId="{22ED4FCA-75E5-4DE0-A240-5986C5D68FD7}" type="presParOf" srcId="{96DF6E8B-D610-48CA-A62D-EB2D040F69F0}" destId="{4ECE56F9-8C96-4D45-A489-298CFE3B4309}" srcOrd="0" destOrd="0" presId="urn:microsoft.com/office/officeart/2008/layout/LinedList"/>
    <dgm:cxn modelId="{087388CB-B08D-4AAF-B7F4-62ABA8F90822}" type="presParOf" srcId="{96DF6E8B-D610-48CA-A62D-EB2D040F69F0}" destId="{1DD32C88-3DAC-4335-B33F-3F0C67FAADA5}" srcOrd="1"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A5119D-EB67-4C0D-A6B0-7FFDA03EDE12}"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95C98076-2A85-4D90-AE38-1624640FDF07}">
      <dgm:prSet custT="1"/>
      <dgm:spPr/>
      <dgm:t>
        <a:bodyPr/>
        <a:lstStyle/>
        <a:p>
          <a:pPr algn="l" rtl="0"/>
          <a:r>
            <a:rPr lang="en-US" sz="2400" dirty="0" smtClean="0">
              <a:solidFill>
                <a:schemeClr val="bg1"/>
              </a:solidFill>
            </a:rPr>
            <a:t>Practicing Beyond Abilities </a:t>
          </a:r>
          <a:endParaRPr lang="en-US" sz="1700" dirty="0">
            <a:solidFill>
              <a:schemeClr val="bg1"/>
            </a:solidFill>
            <a:latin typeface="Tahoma" panose="020B0604030504040204" pitchFamily="34" charset="0"/>
            <a:ea typeface="Tahoma" panose="020B0604030504040204" pitchFamily="34" charset="0"/>
            <a:cs typeface="Tahoma" panose="020B0604030504040204" pitchFamily="34" charset="0"/>
          </a:endParaRPr>
        </a:p>
      </dgm:t>
    </dgm:pt>
    <dgm:pt modelId="{0DC6ADC4-7C67-4A54-A5F2-F38A19305C86}" type="parTrans" cxnId="{026CD955-32EA-45B5-9F2B-D48AF0A20647}">
      <dgm:prSet/>
      <dgm:spPr/>
      <dgm:t>
        <a:bodyPr/>
        <a:lstStyle/>
        <a:p>
          <a:pPr algn="l"/>
          <a:endParaRPr lang="en-US" sz="2400">
            <a:solidFill>
              <a:schemeClr val="accent6"/>
            </a:solidFill>
          </a:endParaRPr>
        </a:p>
      </dgm:t>
    </dgm:pt>
    <dgm:pt modelId="{CD0FF048-88F7-4DC9-96A3-170A0C7D2B79}" type="sibTrans" cxnId="{026CD955-32EA-45B5-9F2B-D48AF0A20647}">
      <dgm:prSet/>
      <dgm:spPr/>
      <dgm:t>
        <a:bodyPr/>
        <a:lstStyle/>
        <a:p>
          <a:pPr algn="l"/>
          <a:endParaRPr lang="en-US" sz="2400" dirty="0">
            <a:solidFill>
              <a:schemeClr val="accent6"/>
            </a:solidFill>
          </a:endParaRPr>
        </a:p>
      </dgm:t>
    </dgm:pt>
    <dgm:pt modelId="{7209C11A-7D1E-4118-9470-3ED7077F6138}">
      <dgm:prSet custT="1"/>
      <dgm:spPr/>
      <dgm:t>
        <a:bodyPr/>
        <a:lstStyle/>
        <a:p>
          <a:pPr algn="l" rtl="0"/>
          <a:r>
            <a:rPr lang="en-US" sz="2400" dirty="0" smtClean="0"/>
            <a:t>Patient / Juror Expectations</a:t>
          </a:r>
          <a:endParaRPr lang="en-US" sz="2400" dirty="0">
            <a:latin typeface="Arial" panose="020B0604020202020204" pitchFamily="34" charset="0"/>
            <a:ea typeface="Tahoma" panose="020B0604030504040204" pitchFamily="34" charset="0"/>
            <a:cs typeface="Arial" panose="020B0604020202020204" pitchFamily="34" charset="0"/>
          </a:endParaRPr>
        </a:p>
      </dgm:t>
    </dgm:pt>
    <dgm:pt modelId="{09C71A91-1B54-4347-81E4-5EBE8D7E80A2}" type="parTrans" cxnId="{6CA6F2BB-84D7-4655-A879-B4BC90AB6F70}">
      <dgm:prSet/>
      <dgm:spPr/>
      <dgm:t>
        <a:bodyPr/>
        <a:lstStyle/>
        <a:p>
          <a:pPr algn="l"/>
          <a:endParaRPr lang="en-US" sz="2400">
            <a:solidFill>
              <a:schemeClr val="accent6"/>
            </a:solidFill>
          </a:endParaRPr>
        </a:p>
      </dgm:t>
    </dgm:pt>
    <dgm:pt modelId="{4BBEF1D4-D7C6-4675-AB49-284A11E2FCB7}" type="sibTrans" cxnId="{6CA6F2BB-84D7-4655-A879-B4BC90AB6F70}">
      <dgm:prSet/>
      <dgm:spPr/>
      <dgm:t>
        <a:bodyPr/>
        <a:lstStyle/>
        <a:p>
          <a:pPr algn="l"/>
          <a:endParaRPr lang="en-US" sz="2400">
            <a:solidFill>
              <a:schemeClr val="accent6"/>
            </a:solidFill>
          </a:endParaRPr>
        </a:p>
      </dgm:t>
    </dgm:pt>
    <dgm:pt modelId="{1C6BCBDE-5F57-4309-9532-0F720696621A}">
      <dgm:prSet custT="1"/>
      <dgm:spPr/>
      <dgm:t>
        <a:bodyPr/>
        <a:lstStyle/>
        <a:p>
          <a:pPr algn="l" rtl="0"/>
          <a:r>
            <a:rPr lang="en-US" sz="2400" dirty="0" smtClean="0"/>
            <a:t>Societal View of the Legal + Medical Systems</a:t>
          </a:r>
          <a:endParaRPr lang="en-US" sz="2400" dirty="0">
            <a:latin typeface="Arial" panose="020B0604020202020204" pitchFamily="34" charset="0"/>
            <a:ea typeface="Tahoma" panose="020B0604030504040204" pitchFamily="34" charset="0"/>
            <a:cs typeface="Arial" panose="020B0604020202020204" pitchFamily="34" charset="0"/>
          </a:endParaRPr>
        </a:p>
      </dgm:t>
    </dgm:pt>
    <dgm:pt modelId="{45CFE378-D870-493B-8F07-702F3FC314BD}" type="parTrans" cxnId="{FB614277-1350-4197-8361-81356334230D}">
      <dgm:prSet/>
      <dgm:spPr/>
      <dgm:t>
        <a:bodyPr/>
        <a:lstStyle/>
        <a:p>
          <a:pPr algn="l"/>
          <a:endParaRPr lang="en-US" sz="2400">
            <a:solidFill>
              <a:schemeClr val="accent6"/>
            </a:solidFill>
          </a:endParaRPr>
        </a:p>
      </dgm:t>
    </dgm:pt>
    <dgm:pt modelId="{AF987468-FEBD-4DA9-A67C-8C4DAEBFEBE5}" type="sibTrans" cxnId="{FB614277-1350-4197-8361-81356334230D}">
      <dgm:prSet/>
      <dgm:spPr/>
      <dgm:t>
        <a:bodyPr/>
        <a:lstStyle/>
        <a:p>
          <a:pPr algn="l"/>
          <a:endParaRPr lang="en-US" sz="2400">
            <a:solidFill>
              <a:schemeClr val="accent6"/>
            </a:solidFill>
          </a:endParaRPr>
        </a:p>
      </dgm:t>
    </dgm:pt>
    <dgm:pt modelId="{202F972A-7C1F-4B3E-A6EF-CBEDF33AD27C}">
      <dgm:prSet custT="1"/>
      <dgm:spPr/>
      <dgm:t>
        <a:bodyPr/>
        <a:lstStyle/>
        <a:p>
          <a:pPr algn="l" rtl="0"/>
          <a:r>
            <a:rPr lang="en-US" sz="2400" dirty="0" smtClean="0"/>
            <a:t>Societal View of a Dollar's Worth</a:t>
          </a:r>
          <a:endParaRPr lang="en-US" sz="2400" dirty="0">
            <a:latin typeface="Arial" panose="020B0604020202020204" pitchFamily="34" charset="0"/>
            <a:ea typeface="Tahoma" panose="020B0604030504040204" pitchFamily="34" charset="0"/>
            <a:cs typeface="Arial" panose="020B0604020202020204" pitchFamily="34" charset="0"/>
          </a:endParaRPr>
        </a:p>
      </dgm:t>
    </dgm:pt>
    <dgm:pt modelId="{C8C9BBBD-2EC8-4095-BF1A-7A1678027C02}" type="parTrans" cxnId="{EBCDFEC1-9765-4E45-BDDB-C0874FCD9576}">
      <dgm:prSet/>
      <dgm:spPr/>
      <dgm:t>
        <a:bodyPr/>
        <a:lstStyle/>
        <a:p>
          <a:pPr algn="l"/>
          <a:endParaRPr lang="en-US" sz="2400">
            <a:solidFill>
              <a:schemeClr val="accent6"/>
            </a:solidFill>
          </a:endParaRPr>
        </a:p>
      </dgm:t>
    </dgm:pt>
    <dgm:pt modelId="{BCF707B5-054A-489D-A469-B50B992C0EB3}" type="sibTrans" cxnId="{EBCDFEC1-9765-4E45-BDDB-C0874FCD9576}">
      <dgm:prSet/>
      <dgm:spPr/>
      <dgm:t>
        <a:bodyPr/>
        <a:lstStyle/>
        <a:p>
          <a:pPr algn="l"/>
          <a:endParaRPr lang="en-US" sz="2400">
            <a:solidFill>
              <a:schemeClr val="accent6"/>
            </a:solidFill>
          </a:endParaRPr>
        </a:p>
      </dgm:t>
    </dgm:pt>
    <dgm:pt modelId="{F8837391-8611-4833-8ADC-097D797CDB42}">
      <dgm:prSet custT="1"/>
      <dgm:spPr/>
      <dgm:t>
        <a:bodyPr/>
        <a:lstStyle/>
        <a:p>
          <a:pPr algn="l" rtl="0"/>
          <a:r>
            <a:rPr lang="en-US" sz="2400" dirty="0" smtClean="0">
              <a:latin typeface="Arial" panose="020B0604020202020204" pitchFamily="34" charset="0"/>
              <a:ea typeface="Tahoma" panose="020B0604030504040204" pitchFamily="34" charset="0"/>
              <a:cs typeface="Arial" panose="020B0604020202020204" pitchFamily="34" charset="0"/>
            </a:rPr>
            <a:t>Consumer Culture—patient as a buyer of a service</a:t>
          </a:r>
          <a:endParaRPr lang="en-US" sz="2400" dirty="0">
            <a:latin typeface="Arial" panose="020B0604020202020204" pitchFamily="34" charset="0"/>
            <a:ea typeface="Tahoma" panose="020B0604030504040204" pitchFamily="34" charset="0"/>
            <a:cs typeface="Arial" panose="020B0604020202020204" pitchFamily="34" charset="0"/>
          </a:endParaRPr>
        </a:p>
      </dgm:t>
    </dgm:pt>
    <dgm:pt modelId="{71917E82-092F-4115-A212-75D00485D794}" type="parTrans" cxnId="{AE2D4375-D427-4E23-8331-ED184A11CCEE}">
      <dgm:prSet/>
      <dgm:spPr/>
      <dgm:t>
        <a:bodyPr/>
        <a:lstStyle/>
        <a:p>
          <a:pPr algn="l"/>
          <a:endParaRPr lang="en-US" sz="2400">
            <a:solidFill>
              <a:schemeClr val="accent6"/>
            </a:solidFill>
          </a:endParaRPr>
        </a:p>
      </dgm:t>
    </dgm:pt>
    <dgm:pt modelId="{BEF552F3-7185-4A04-ABCA-DB4E69185909}" type="sibTrans" cxnId="{AE2D4375-D427-4E23-8331-ED184A11CCEE}">
      <dgm:prSet/>
      <dgm:spPr/>
      <dgm:t>
        <a:bodyPr/>
        <a:lstStyle/>
        <a:p>
          <a:pPr algn="l"/>
          <a:endParaRPr lang="en-US" sz="2400">
            <a:solidFill>
              <a:schemeClr val="accent6"/>
            </a:solidFill>
          </a:endParaRPr>
        </a:p>
      </dgm:t>
    </dgm:pt>
    <dgm:pt modelId="{8A9D87BB-177B-4F85-88FD-913770CDA62C}">
      <dgm:prSet custT="1"/>
      <dgm:spPr/>
      <dgm:t>
        <a:bodyPr/>
        <a:lstStyle/>
        <a:p>
          <a:pPr algn="l" rtl="0"/>
          <a:r>
            <a:rPr lang="en-US" altLang="en-US" sz="2400" dirty="0" smtClean="0">
              <a:latin typeface="Trebuchet MS" panose="020B0603020202020204" pitchFamily="34" charset="0"/>
              <a:ea typeface="Trebuchet MS" panose="020B0603020202020204" pitchFamily="34" charset="0"/>
              <a:cs typeface="Trebuchet MS" panose="020B0603020202020204" pitchFamily="34" charset="0"/>
            </a:rPr>
            <a:t>Work/Debt Conundrum </a:t>
          </a:r>
          <a:endParaRPr lang="en-US" sz="2400" dirty="0">
            <a:latin typeface="Arial" panose="020B0604020202020204" pitchFamily="34" charset="0"/>
            <a:ea typeface="Tahoma" panose="020B0604030504040204" pitchFamily="34" charset="0"/>
            <a:cs typeface="Arial" panose="020B0604020202020204" pitchFamily="34" charset="0"/>
          </a:endParaRPr>
        </a:p>
      </dgm:t>
    </dgm:pt>
    <dgm:pt modelId="{4A2F37F1-DF22-43F7-BDBE-936C4A85E4A3}" type="parTrans" cxnId="{D0A26FAE-71FD-4AF2-9188-5FA8C6550882}">
      <dgm:prSet/>
      <dgm:spPr/>
      <dgm:t>
        <a:bodyPr/>
        <a:lstStyle/>
        <a:p>
          <a:pPr algn="l"/>
          <a:endParaRPr lang="en-US" sz="2400">
            <a:solidFill>
              <a:schemeClr val="accent6"/>
            </a:solidFill>
          </a:endParaRPr>
        </a:p>
      </dgm:t>
    </dgm:pt>
    <dgm:pt modelId="{F00E7340-83BB-463E-8302-DB0274D5C1E7}" type="sibTrans" cxnId="{D0A26FAE-71FD-4AF2-9188-5FA8C6550882}">
      <dgm:prSet/>
      <dgm:spPr/>
      <dgm:t>
        <a:bodyPr/>
        <a:lstStyle/>
        <a:p>
          <a:pPr algn="l"/>
          <a:endParaRPr lang="en-US" sz="2400">
            <a:solidFill>
              <a:schemeClr val="accent6"/>
            </a:solidFill>
          </a:endParaRPr>
        </a:p>
      </dgm:t>
    </dgm:pt>
    <dgm:pt modelId="{DFBE10FC-EA4F-498A-9761-869991E7115A}">
      <dgm:prSet custT="1"/>
      <dgm:spPr/>
      <dgm:t>
        <a:bodyPr/>
        <a:lstStyle/>
        <a:p>
          <a:pPr algn="l" rtl="0"/>
          <a:r>
            <a:rPr lang="en-US" altLang="en-US" sz="2400" dirty="0" smtClean="0">
              <a:latin typeface="Trebuchet MS" panose="020B0603020202020204" pitchFamily="34" charset="0"/>
              <a:ea typeface="Trebuchet MS" panose="020B0603020202020204" pitchFamily="34" charset="0"/>
              <a:cs typeface="Trebuchet MS" panose="020B0603020202020204" pitchFamily="34" charset="0"/>
            </a:rPr>
            <a:t>Red Flag Patient Groups</a:t>
          </a:r>
          <a:endParaRPr lang="en-US" sz="2400" dirty="0">
            <a:latin typeface="Arial" panose="020B0604020202020204" pitchFamily="34" charset="0"/>
            <a:ea typeface="Tahoma" panose="020B0604030504040204" pitchFamily="34" charset="0"/>
            <a:cs typeface="Arial" panose="020B0604020202020204" pitchFamily="34" charset="0"/>
          </a:endParaRPr>
        </a:p>
      </dgm:t>
    </dgm:pt>
    <dgm:pt modelId="{80990FF5-8B96-4745-A166-0068E79B91DA}" type="parTrans" cxnId="{FF28928C-C926-4E43-A819-AB920D17DCD7}">
      <dgm:prSet/>
      <dgm:spPr/>
      <dgm:t>
        <a:bodyPr/>
        <a:lstStyle/>
        <a:p>
          <a:pPr algn="l"/>
          <a:endParaRPr lang="en-US" sz="2400">
            <a:solidFill>
              <a:schemeClr val="accent6"/>
            </a:solidFill>
          </a:endParaRPr>
        </a:p>
      </dgm:t>
    </dgm:pt>
    <dgm:pt modelId="{99535A4C-5D4A-486F-827A-776B3BEB3345}" type="sibTrans" cxnId="{FF28928C-C926-4E43-A819-AB920D17DCD7}">
      <dgm:prSet/>
      <dgm:spPr/>
      <dgm:t>
        <a:bodyPr/>
        <a:lstStyle/>
        <a:p>
          <a:pPr algn="l"/>
          <a:endParaRPr lang="en-US" sz="2400">
            <a:solidFill>
              <a:schemeClr val="accent6"/>
            </a:solidFill>
          </a:endParaRPr>
        </a:p>
      </dgm:t>
    </dgm:pt>
    <dgm:pt modelId="{F6BF190B-4088-4B3C-88AF-CDA46A5E4D67}" type="pres">
      <dgm:prSet presAssocID="{AEA5119D-EB67-4C0D-A6B0-7FFDA03EDE12}" presName="Name0" presStyleCnt="0">
        <dgm:presLayoutVars>
          <dgm:chMax val="7"/>
          <dgm:chPref val="7"/>
          <dgm:dir/>
        </dgm:presLayoutVars>
      </dgm:prSet>
      <dgm:spPr/>
      <dgm:t>
        <a:bodyPr/>
        <a:lstStyle/>
        <a:p>
          <a:endParaRPr lang="en-US"/>
        </a:p>
      </dgm:t>
    </dgm:pt>
    <dgm:pt modelId="{369AF4C0-2B7D-4644-A7BD-6F2A9D0A328B}" type="pres">
      <dgm:prSet presAssocID="{AEA5119D-EB67-4C0D-A6B0-7FFDA03EDE12}" presName="Name1" presStyleCnt="0"/>
      <dgm:spPr/>
    </dgm:pt>
    <dgm:pt modelId="{B7BA2EC7-32D8-4BE4-9E1A-7B68FDDF7057}" type="pres">
      <dgm:prSet presAssocID="{AEA5119D-EB67-4C0D-A6B0-7FFDA03EDE12}" presName="cycle" presStyleCnt="0"/>
      <dgm:spPr/>
    </dgm:pt>
    <dgm:pt modelId="{B09E3EFA-57CC-4D1F-A37A-D40E7855AABA}" type="pres">
      <dgm:prSet presAssocID="{AEA5119D-EB67-4C0D-A6B0-7FFDA03EDE12}" presName="srcNode" presStyleLbl="node1" presStyleIdx="0" presStyleCnt="7"/>
      <dgm:spPr/>
    </dgm:pt>
    <dgm:pt modelId="{B4C1EF07-63A3-43B3-B619-AD593594B995}" type="pres">
      <dgm:prSet presAssocID="{AEA5119D-EB67-4C0D-A6B0-7FFDA03EDE12}" presName="conn" presStyleLbl="parChTrans1D2" presStyleIdx="0" presStyleCnt="1"/>
      <dgm:spPr/>
      <dgm:t>
        <a:bodyPr/>
        <a:lstStyle/>
        <a:p>
          <a:endParaRPr lang="en-US"/>
        </a:p>
      </dgm:t>
    </dgm:pt>
    <dgm:pt modelId="{2EBBD887-FB2E-4269-A3BE-9D0A2A38F1C3}" type="pres">
      <dgm:prSet presAssocID="{AEA5119D-EB67-4C0D-A6B0-7FFDA03EDE12}" presName="extraNode" presStyleLbl="node1" presStyleIdx="0" presStyleCnt="7"/>
      <dgm:spPr/>
    </dgm:pt>
    <dgm:pt modelId="{CF98C30E-4EA9-4E01-9EF8-DF131F56AF6F}" type="pres">
      <dgm:prSet presAssocID="{AEA5119D-EB67-4C0D-A6B0-7FFDA03EDE12}" presName="dstNode" presStyleLbl="node1" presStyleIdx="0" presStyleCnt="7"/>
      <dgm:spPr/>
    </dgm:pt>
    <dgm:pt modelId="{7273AC32-E93F-4077-878A-301587E5E6B3}" type="pres">
      <dgm:prSet presAssocID="{95C98076-2A85-4D90-AE38-1624640FDF07}" presName="text_1" presStyleLbl="node1" presStyleIdx="0" presStyleCnt="7">
        <dgm:presLayoutVars>
          <dgm:bulletEnabled val="1"/>
        </dgm:presLayoutVars>
      </dgm:prSet>
      <dgm:spPr/>
      <dgm:t>
        <a:bodyPr/>
        <a:lstStyle/>
        <a:p>
          <a:endParaRPr lang="en-US"/>
        </a:p>
      </dgm:t>
    </dgm:pt>
    <dgm:pt modelId="{4D6F5552-FCE4-4AEF-A3C7-2979C4CC4AD1}" type="pres">
      <dgm:prSet presAssocID="{95C98076-2A85-4D90-AE38-1624640FDF07}" presName="accent_1" presStyleCnt="0"/>
      <dgm:spPr/>
    </dgm:pt>
    <dgm:pt modelId="{B649B1C4-851D-4693-A5FC-53E1B92A79F6}" type="pres">
      <dgm:prSet presAssocID="{95C98076-2A85-4D90-AE38-1624640FDF07}" presName="accentRepeatNode" presStyleLbl="solidFgAcc1" presStyleIdx="0" presStyleCnt="7"/>
      <dgm:spPr/>
    </dgm:pt>
    <dgm:pt modelId="{9BEF9489-C5D9-4A59-A146-A35C805D224F}" type="pres">
      <dgm:prSet presAssocID="{7209C11A-7D1E-4118-9470-3ED7077F6138}" presName="text_2" presStyleLbl="node1" presStyleIdx="1" presStyleCnt="7">
        <dgm:presLayoutVars>
          <dgm:bulletEnabled val="1"/>
        </dgm:presLayoutVars>
      </dgm:prSet>
      <dgm:spPr/>
      <dgm:t>
        <a:bodyPr/>
        <a:lstStyle/>
        <a:p>
          <a:endParaRPr lang="en-US"/>
        </a:p>
      </dgm:t>
    </dgm:pt>
    <dgm:pt modelId="{9295CA63-D311-49E0-87A0-6411AF10F7A1}" type="pres">
      <dgm:prSet presAssocID="{7209C11A-7D1E-4118-9470-3ED7077F6138}" presName="accent_2" presStyleCnt="0"/>
      <dgm:spPr/>
    </dgm:pt>
    <dgm:pt modelId="{04D82248-19D5-4F7C-93D3-940729DAF8B3}" type="pres">
      <dgm:prSet presAssocID="{7209C11A-7D1E-4118-9470-3ED7077F6138}" presName="accentRepeatNode" presStyleLbl="solidFgAcc1" presStyleIdx="1" presStyleCnt="7"/>
      <dgm:spPr/>
    </dgm:pt>
    <dgm:pt modelId="{8663CB5E-D46E-4DF5-9FDC-6E1AF0555CDA}" type="pres">
      <dgm:prSet presAssocID="{1C6BCBDE-5F57-4309-9532-0F720696621A}" presName="text_3" presStyleLbl="node1" presStyleIdx="2" presStyleCnt="7">
        <dgm:presLayoutVars>
          <dgm:bulletEnabled val="1"/>
        </dgm:presLayoutVars>
      </dgm:prSet>
      <dgm:spPr/>
      <dgm:t>
        <a:bodyPr/>
        <a:lstStyle/>
        <a:p>
          <a:endParaRPr lang="en-US"/>
        </a:p>
      </dgm:t>
    </dgm:pt>
    <dgm:pt modelId="{CD381DD9-D623-467E-8AF3-D0DEE63C06C7}" type="pres">
      <dgm:prSet presAssocID="{1C6BCBDE-5F57-4309-9532-0F720696621A}" presName="accent_3" presStyleCnt="0"/>
      <dgm:spPr/>
    </dgm:pt>
    <dgm:pt modelId="{2C869442-8917-42EB-934E-0A81FC68C2CD}" type="pres">
      <dgm:prSet presAssocID="{1C6BCBDE-5F57-4309-9532-0F720696621A}" presName="accentRepeatNode" presStyleLbl="solidFgAcc1" presStyleIdx="2" presStyleCnt="7"/>
      <dgm:spPr/>
    </dgm:pt>
    <dgm:pt modelId="{AE11E972-05E4-4922-B2C9-B01554FE2B0D}" type="pres">
      <dgm:prSet presAssocID="{202F972A-7C1F-4B3E-A6EF-CBEDF33AD27C}" presName="text_4" presStyleLbl="node1" presStyleIdx="3" presStyleCnt="7">
        <dgm:presLayoutVars>
          <dgm:bulletEnabled val="1"/>
        </dgm:presLayoutVars>
      </dgm:prSet>
      <dgm:spPr/>
      <dgm:t>
        <a:bodyPr/>
        <a:lstStyle/>
        <a:p>
          <a:endParaRPr lang="en-US"/>
        </a:p>
      </dgm:t>
    </dgm:pt>
    <dgm:pt modelId="{AA860BCD-C9C5-486E-86C0-2ED34878684A}" type="pres">
      <dgm:prSet presAssocID="{202F972A-7C1F-4B3E-A6EF-CBEDF33AD27C}" presName="accent_4" presStyleCnt="0"/>
      <dgm:spPr/>
    </dgm:pt>
    <dgm:pt modelId="{89535593-4FD9-4785-81EF-7C97BFBBA1CD}" type="pres">
      <dgm:prSet presAssocID="{202F972A-7C1F-4B3E-A6EF-CBEDF33AD27C}" presName="accentRepeatNode" presStyleLbl="solidFgAcc1" presStyleIdx="3" presStyleCnt="7"/>
      <dgm:spPr/>
    </dgm:pt>
    <dgm:pt modelId="{0763D2EE-8964-443F-B2B7-59D3A6D05A44}" type="pres">
      <dgm:prSet presAssocID="{F8837391-8611-4833-8ADC-097D797CDB42}" presName="text_5" presStyleLbl="node1" presStyleIdx="4" presStyleCnt="7" custScaleY="144012">
        <dgm:presLayoutVars>
          <dgm:bulletEnabled val="1"/>
        </dgm:presLayoutVars>
      </dgm:prSet>
      <dgm:spPr/>
      <dgm:t>
        <a:bodyPr/>
        <a:lstStyle/>
        <a:p>
          <a:endParaRPr lang="en-US"/>
        </a:p>
      </dgm:t>
    </dgm:pt>
    <dgm:pt modelId="{359D7176-A074-4002-A64D-B0FDFA9A5860}" type="pres">
      <dgm:prSet presAssocID="{F8837391-8611-4833-8ADC-097D797CDB42}" presName="accent_5" presStyleCnt="0"/>
      <dgm:spPr/>
    </dgm:pt>
    <dgm:pt modelId="{D72F986F-BBC4-4D11-B830-E918FE679EA7}" type="pres">
      <dgm:prSet presAssocID="{F8837391-8611-4833-8ADC-097D797CDB42}" presName="accentRepeatNode" presStyleLbl="solidFgAcc1" presStyleIdx="4" presStyleCnt="7"/>
      <dgm:spPr/>
    </dgm:pt>
    <dgm:pt modelId="{EFA7A58F-02BD-4D75-B4EA-12DC7C57DEDE}" type="pres">
      <dgm:prSet presAssocID="{8A9D87BB-177B-4F85-88FD-913770CDA62C}" presName="text_6" presStyleLbl="node1" presStyleIdx="5" presStyleCnt="7" custScaleY="130986" custLinFactNeighborX="-208" custLinFactNeighborY="9967">
        <dgm:presLayoutVars>
          <dgm:bulletEnabled val="1"/>
        </dgm:presLayoutVars>
      </dgm:prSet>
      <dgm:spPr/>
      <dgm:t>
        <a:bodyPr/>
        <a:lstStyle/>
        <a:p>
          <a:endParaRPr lang="en-US"/>
        </a:p>
      </dgm:t>
    </dgm:pt>
    <dgm:pt modelId="{62938C65-7843-49FF-9A6D-B3F213AB8E9D}" type="pres">
      <dgm:prSet presAssocID="{8A9D87BB-177B-4F85-88FD-913770CDA62C}" presName="accent_6" presStyleCnt="0"/>
      <dgm:spPr/>
    </dgm:pt>
    <dgm:pt modelId="{7B993F66-F945-45E9-9300-3A49DF6032BC}" type="pres">
      <dgm:prSet presAssocID="{8A9D87BB-177B-4F85-88FD-913770CDA62C}" presName="accentRepeatNode" presStyleLbl="solidFgAcc1" presStyleIdx="5" presStyleCnt="7"/>
      <dgm:spPr/>
    </dgm:pt>
    <dgm:pt modelId="{C6738BAB-6ED2-4776-803C-C3FE4689BB7C}" type="pres">
      <dgm:prSet presAssocID="{DFBE10FC-EA4F-498A-9761-869991E7115A}" presName="text_7" presStyleLbl="node1" presStyleIdx="6" presStyleCnt="7">
        <dgm:presLayoutVars>
          <dgm:bulletEnabled val="1"/>
        </dgm:presLayoutVars>
      </dgm:prSet>
      <dgm:spPr/>
      <dgm:t>
        <a:bodyPr/>
        <a:lstStyle/>
        <a:p>
          <a:endParaRPr lang="en-US"/>
        </a:p>
      </dgm:t>
    </dgm:pt>
    <dgm:pt modelId="{5399ACD3-FF65-4D6A-81A7-BA6F340AFC0A}" type="pres">
      <dgm:prSet presAssocID="{DFBE10FC-EA4F-498A-9761-869991E7115A}" presName="accent_7" presStyleCnt="0"/>
      <dgm:spPr/>
    </dgm:pt>
    <dgm:pt modelId="{8875A93E-11DD-489D-BD8B-D59BAF427400}" type="pres">
      <dgm:prSet presAssocID="{DFBE10FC-EA4F-498A-9761-869991E7115A}" presName="accentRepeatNode" presStyleLbl="solidFgAcc1" presStyleIdx="6" presStyleCnt="7"/>
      <dgm:spPr/>
    </dgm:pt>
  </dgm:ptLst>
  <dgm:cxnLst>
    <dgm:cxn modelId="{76F79A00-4026-4636-A77D-3458ABBE9CCD}" type="presOf" srcId="{AEA5119D-EB67-4C0D-A6B0-7FFDA03EDE12}" destId="{F6BF190B-4088-4B3C-88AF-CDA46A5E4D67}" srcOrd="0" destOrd="0" presId="urn:microsoft.com/office/officeart/2008/layout/VerticalCurvedList"/>
    <dgm:cxn modelId="{FF28928C-C926-4E43-A819-AB920D17DCD7}" srcId="{AEA5119D-EB67-4C0D-A6B0-7FFDA03EDE12}" destId="{DFBE10FC-EA4F-498A-9761-869991E7115A}" srcOrd="6" destOrd="0" parTransId="{80990FF5-8B96-4745-A166-0068E79B91DA}" sibTransId="{99535A4C-5D4A-486F-827A-776B3BEB3345}"/>
    <dgm:cxn modelId="{7A02A98C-58A4-4A57-ACCF-D658EA401E33}" type="presOf" srcId="{1C6BCBDE-5F57-4309-9532-0F720696621A}" destId="{8663CB5E-D46E-4DF5-9FDC-6E1AF0555CDA}" srcOrd="0" destOrd="0" presId="urn:microsoft.com/office/officeart/2008/layout/VerticalCurvedList"/>
    <dgm:cxn modelId="{026CD955-32EA-45B5-9F2B-D48AF0A20647}" srcId="{AEA5119D-EB67-4C0D-A6B0-7FFDA03EDE12}" destId="{95C98076-2A85-4D90-AE38-1624640FDF07}" srcOrd="0" destOrd="0" parTransId="{0DC6ADC4-7C67-4A54-A5F2-F38A19305C86}" sibTransId="{CD0FF048-88F7-4DC9-96A3-170A0C7D2B79}"/>
    <dgm:cxn modelId="{6DDB4E6B-0134-46FB-BE66-E6000B6C0A60}" type="presOf" srcId="{95C98076-2A85-4D90-AE38-1624640FDF07}" destId="{7273AC32-E93F-4077-878A-301587E5E6B3}" srcOrd="0" destOrd="0" presId="urn:microsoft.com/office/officeart/2008/layout/VerticalCurvedList"/>
    <dgm:cxn modelId="{35C0A7E8-34FB-4EE2-B243-D724068B682A}" type="presOf" srcId="{F8837391-8611-4833-8ADC-097D797CDB42}" destId="{0763D2EE-8964-443F-B2B7-59D3A6D05A44}" srcOrd="0" destOrd="0" presId="urn:microsoft.com/office/officeart/2008/layout/VerticalCurvedList"/>
    <dgm:cxn modelId="{EBCDFEC1-9765-4E45-BDDB-C0874FCD9576}" srcId="{AEA5119D-EB67-4C0D-A6B0-7FFDA03EDE12}" destId="{202F972A-7C1F-4B3E-A6EF-CBEDF33AD27C}" srcOrd="3" destOrd="0" parTransId="{C8C9BBBD-2EC8-4095-BF1A-7A1678027C02}" sibTransId="{BCF707B5-054A-489D-A469-B50B992C0EB3}"/>
    <dgm:cxn modelId="{FB614277-1350-4197-8361-81356334230D}" srcId="{AEA5119D-EB67-4C0D-A6B0-7FFDA03EDE12}" destId="{1C6BCBDE-5F57-4309-9532-0F720696621A}" srcOrd="2" destOrd="0" parTransId="{45CFE378-D870-493B-8F07-702F3FC314BD}" sibTransId="{AF987468-FEBD-4DA9-A67C-8C4DAEBFEBE5}"/>
    <dgm:cxn modelId="{058B0843-1138-4AD7-A619-DA3BB97A7E65}" type="presOf" srcId="{7209C11A-7D1E-4118-9470-3ED7077F6138}" destId="{9BEF9489-C5D9-4A59-A146-A35C805D224F}" srcOrd="0" destOrd="0" presId="urn:microsoft.com/office/officeart/2008/layout/VerticalCurvedList"/>
    <dgm:cxn modelId="{6CA6F2BB-84D7-4655-A879-B4BC90AB6F70}" srcId="{AEA5119D-EB67-4C0D-A6B0-7FFDA03EDE12}" destId="{7209C11A-7D1E-4118-9470-3ED7077F6138}" srcOrd="1" destOrd="0" parTransId="{09C71A91-1B54-4347-81E4-5EBE8D7E80A2}" sibTransId="{4BBEF1D4-D7C6-4675-AB49-284A11E2FCB7}"/>
    <dgm:cxn modelId="{D0A26FAE-71FD-4AF2-9188-5FA8C6550882}" srcId="{AEA5119D-EB67-4C0D-A6B0-7FFDA03EDE12}" destId="{8A9D87BB-177B-4F85-88FD-913770CDA62C}" srcOrd="5" destOrd="0" parTransId="{4A2F37F1-DF22-43F7-BDBE-936C4A85E4A3}" sibTransId="{F00E7340-83BB-463E-8302-DB0274D5C1E7}"/>
    <dgm:cxn modelId="{CDC0460E-E21E-475E-B307-A0C70A82320F}" type="presOf" srcId="{DFBE10FC-EA4F-498A-9761-869991E7115A}" destId="{C6738BAB-6ED2-4776-803C-C3FE4689BB7C}" srcOrd="0" destOrd="0" presId="urn:microsoft.com/office/officeart/2008/layout/VerticalCurvedList"/>
    <dgm:cxn modelId="{AE2D4375-D427-4E23-8331-ED184A11CCEE}" srcId="{AEA5119D-EB67-4C0D-A6B0-7FFDA03EDE12}" destId="{F8837391-8611-4833-8ADC-097D797CDB42}" srcOrd="4" destOrd="0" parTransId="{71917E82-092F-4115-A212-75D00485D794}" sibTransId="{BEF552F3-7185-4A04-ABCA-DB4E69185909}"/>
    <dgm:cxn modelId="{EFB10332-E71B-47A1-B9AD-D595253EB51D}" type="presOf" srcId="{202F972A-7C1F-4B3E-A6EF-CBEDF33AD27C}" destId="{AE11E972-05E4-4922-B2C9-B01554FE2B0D}" srcOrd="0" destOrd="0" presId="urn:microsoft.com/office/officeart/2008/layout/VerticalCurvedList"/>
    <dgm:cxn modelId="{7A754CB6-C46D-43B9-A502-AB60ABF1D113}" type="presOf" srcId="{CD0FF048-88F7-4DC9-96A3-170A0C7D2B79}" destId="{B4C1EF07-63A3-43B3-B619-AD593594B995}" srcOrd="0" destOrd="0" presId="urn:microsoft.com/office/officeart/2008/layout/VerticalCurvedList"/>
    <dgm:cxn modelId="{B71BD30A-BBFA-43F7-8A92-6FF206834F46}" type="presOf" srcId="{8A9D87BB-177B-4F85-88FD-913770CDA62C}" destId="{EFA7A58F-02BD-4D75-B4EA-12DC7C57DEDE}" srcOrd="0" destOrd="0" presId="urn:microsoft.com/office/officeart/2008/layout/VerticalCurvedList"/>
    <dgm:cxn modelId="{65412592-092A-4E9D-828D-83A087364A4C}" type="presParOf" srcId="{F6BF190B-4088-4B3C-88AF-CDA46A5E4D67}" destId="{369AF4C0-2B7D-4644-A7BD-6F2A9D0A328B}" srcOrd="0" destOrd="0" presId="urn:microsoft.com/office/officeart/2008/layout/VerticalCurvedList"/>
    <dgm:cxn modelId="{BBBE6D17-A557-42AE-B97F-9E5BEBA94E6E}" type="presParOf" srcId="{369AF4C0-2B7D-4644-A7BD-6F2A9D0A328B}" destId="{B7BA2EC7-32D8-4BE4-9E1A-7B68FDDF7057}" srcOrd="0" destOrd="0" presId="urn:microsoft.com/office/officeart/2008/layout/VerticalCurvedList"/>
    <dgm:cxn modelId="{BED7238D-C40C-4373-8AED-B9F277404C31}" type="presParOf" srcId="{B7BA2EC7-32D8-4BE4-9E1A-7B68FDDF7057}" destId="{B09E3EFA-57CC-4D1F-A37A-D40E7855AABA}" srcOrd="0" destOrd="0" presId="urn:microsoft.com/office/officeart/2008/layout/VerticalCurvedList"/>
    <dgm:cxn modelId="{94E4B72F-AD17-455A-8636-6D86ED88FC98}" type="presParOf" srcId="{B7BA2EC7-32D8-4BE4-9E1A-7B68FDDF7057}" destId="{B4C1EF07-63A3-43B3-B619-AD593594B995}" srcOrd="1" destOrd="0" presId="urn:microsoft.com/office/officeart/2008/layout/VerticalCurvedList"/>
    <dgm:cxn modelId="{18BF8DAB-4EC4-48D6-BFA7-2B726134E946}" type="presParOf" srcId="{B7BA2EC7-32D8-4BE4-9E1A-7B68FDDF7057}" destId="{2EBBD887-FB2E-4269-A3BE-9D0A2A38F1C3}" srcOrd="2" destOrd="0" presId="urn:microsoft.com/office/officeart/2008/layout/VerticalCurvedList"/>
    <dgm:cxn modelId="{4924931F-599A-4FD3-A55B-CAEBC2C97F66}" type="presParOf" srcId="{B7BA2EC7-32D8-4BE4-9E1A-7B68FDDF7057}" destId="{CF98C30E-4EA9-4E01-9EF8-DF131F56AF6F}" srcOrd="3" destOrd="0" presId="urn:microsoft.com/office/officeart/2008/layout/VerticalCurvedList"/>
    <dgm:cxn modelId="{B11FB996-4E05-4F41-832E-9B0CC7C32AA2}" type="presParOf" srcId="{369AF4C0-2B7D-4644-A7BD-6F2A9D0A328B}" destId="{7273AC32-E93F-4077-878A-301587E5E6B3}" srcOrd="1" destOrd="0" presId="urn:microsoft.com/office/officeart/2008/layout/VerticalCurvedList"/>
    <dgm:cxn modelId="{FB3D31B7-B80F-40A6-AD71-9CF483CFF86A}" type="presParOf" srcId="{369AF4C0-2B7D-4644-A7BD-6F2A9D0A328B}" destId="{4D6F5552-FCE4-4AEF-A3C7-2979C4CC4AD1}" srcOrd="2" destOrd="0" presId="urn:microsoft.com/office/officeart/2008/layout/VerticalCurvedList"/>
    <dgm:cxn modelId="{B1967201-B98C-4AC6-8193-8DD05162C605}" type="presParOf" srcId="{4D6F5552-FCE4-4AEF-A3C7-2979C4CC4AD1}" destId="{B649B1C4-851D-4693-A5FC-53E1B92A79F6}" srcOrd="0" destOrd="0" presId="urn:microsoft.com/office/officeart/2008/layout/VerticalCurvedList"/>
    <dgm:cxn modelId="{6CF23E10-EB41-4F49-B617-A7CAF12215FD}" type="presParOf" srcId="{369AF4C0-2B7D-4644-A7BD-6F2A9D0A328B}" destId="{9BEF9489-C5D9-4A59-A146-A35C805D224F}" srcOrd="3" destOrd="0" presId="urn:microsoft.com/office/officeart/2008/layout/VerticalCurvedList"/>
    <dgm:cxn modelId="{E30CC4F1-EDB7-4A9C-B549-74E722DA8A5F}" type="presParOf" srcId="{369AF4C0-2B7D-4644-A7BD-6F2A9D0A328B}" destId="{9295CA63-D311-49E0-87A0-6411AF10F7A1}" srcOrd="4" destOrd="0" presId="urn:microsoft.com/office/officeart/2008/layout/VerticalCurvedList"/>
    <dgm:cxn modelId="{1FF254CD-8B80-4CE9-B656-57BB25D6E1FE}" type="presParOf" srcId="{9295CA63-D311-49E0-87A0-6411AF10F7A1}" destId="{04D82248-19D5-4F7C-93D3-940729DAF8B3}" srcOrd="0" destOrd="0" presId="urn:microsoft.com/office/officeart/2008/layout/VerticalCurvedList"/>
    <dgm:cxn modelId="{A820E201-D513-4570-9D71-E8365ED15B02}" type="presParOf" srcId="{369AF4C0-2B7D-4644-A7BD-6F2A9D0A328B}" destId="{8663CB5E-D46E-4DF5-9FDC-6E1AF0555CDA}" srcOrd="5" destOrd="0" presId="urn:microsoft.com/office/officeart/2008/layout/VerticalCurvedList"/>
    <dgm:cxn modelId="{E3F19A68-6D3F-4816-A366-D4F1956D6D23}" type="presParOf" srcId="{369AF4C0-2B7D-4644-A7BD-6F2A9D0A328B}" destId="{CD381DD9-D623-467E-8AF3-D0DEE63C06C7}" srcOrd="6" destOrd="0" presId="urn:microsoft.com/office/officeart/2008/layout/VerticalCurvedList"/>
    <dgm:cxn modelId="{555B505A-D04E-4033-9DBC-34E005B6372D}" type="presParOf" srcId="{CD381DD9-D623-467E-8AF3-D0DEE63C06C7}" destId="{2C869442-8917-42EB-934E-0A81FC68C2CD}" srcOrd="0" destOrd="0" presId="urn:microsoft.com/office/officeart/2008/layout/VerticalCurvedList"/>
    <dgm:cxn modelId="{7E5A1541-FD72-4C01-915B-66DBA703A3D0}" type="presParOf" srcId="{369AF4C0-2B7D-4644-A7BD-6F2A9D0A328B}" destId="{AE11E972-05E4-4922-B2C9-B01554FE2B0D}" srcOrd="7" destOrd="0" presId="urn:microsoft.com/office/officeart/2008/layout/VerticalCurvedList"/>
    <dgm:cxn modelId="{13F52EC3-C521-489B-B044-B7F218BB6EAC}" type="presParOf" srcId="{369AF4C0-2B7D-4644-A7BD-6F2A9D0A328B}" destId="{AA860BCD-C9C5-486E-86C0-2ED34878684A}" srcOrd="8" destOrd="0" presId="urn:microsoft.com/office/officeart/2008/layout/VerticalCurvedList"/>
    <dgm:cxn modelId="{20F95177-0284-40B3-BDAE-2F3351BEC6FE}" type="presParOf" srcId="{AA860BCD-C9C5-486E-86C0-2ED34878684A}" destId="{89535593-4FD9-4785-81EF-7C97BFBBA1CD}" srcOrd="0" destOrd="0" presId="urn:microsoft.com/office/officeart/2008/layout/VerticalCurvedList"/>
    <dgm:cxn modelId="{6D55F406-3E07-4570-9C6A-3A3DC4515891}" type="presParOf" srcId="{369AF4C0-2B7D-4644-A7BD-6F2A9D0A328B}" destId="{0763D2EE-8964-443F-B2B7-59D3A6D05A44}" srcOrd="9" destOrd="0" presId="urn:microsoft.com/office/officeart/2008/layout/VerticalCurvedList"/>
    <dgm:cxn modelId="{3FA01174-0C39-4BA6-A85F-5EA68243ACFB}" type="presParOf" srcId="{369AF4C0-2B7D-4644-A7BD-6F2A9D0A328B}" destId="{359D7176-A074-4002-A64D-B0FDFA9A5860}" srcOrd="10" destOrd="0" presId="urn:microsoft.com/office/officeart/2008/layout/VerticalCurvedList"/>
    <dgm:cxn modelId="{CF415F20-0F26-41DF-A825-6ACB978D01CF}" type="presParOf" srcId="{359D7176-A074-4002-A64D-B0FDFA9A5860}" destId="{D72F986F-BBC4-4D11-B830-E918FE679EA7}" srcOrd="0" destOrd="0" presId="urn:microsoft.com/office/officeart/2008/layout/VerticalCurvedList"/>
    <dgm:cxn modelId="{109CE1B2-0CF8-4E0B-BDA6-641C44F5DF3C}" type="presParOf" srcId="{369AF4C0-2B7D-4644-A7BD-6F2A9D0A328B}" destId="{EFA7A58F-02BD-4D75-B4EA-12DC7C57DEDE}" srcOrd="11" destOrd="0" presId="urn:microsoft.com/office/officeart/2008/layout/VerticalCurvedList"/>
    <dgm:cxn modelId="{6D0AEC4D-53A9-4E5A-BE95-51C909F1BA80}" type="presParOf" srcId="{369AF4C0-2B7D-4644-A7BD-6F2A9D0A328B}" destId="{62938C65-7843-49FF-9A6D-B3F213AB8E9D}" srcOrd="12" destOrd="0" presId="urn:microsoft.com/office/officeart/2008/layout/VerticalCurvedList"/>
    <dgm:cxn modelId="{3C869A59-6ADC-44DD-9809-C5D19555A487}" type="presParOf" srcId="{62938C65-7843-49FF-9A6D-B3F213AB8E9D}" destId="{7B993F66-F945-45E9-9300-3A49DF6032BC}" srcOrd="0" destOrd="0" presId="urn:microsoft.com/office/officeart/2008/layout/VerticalCurvedList"/>
    <dgm:cxn modelId="{F1112CA8-BE9E-4CED-B207-D1E55410AFA9}" type="presParOf" srcId="{369AF4C0-2B7D-4644-A7BD-6F2A9D0A328B}" destId="{C6738BAB-6ED2-4776-803C-C3FE4689BB7C}" srcOrd="13" destOrd="0" presId="urn:microsoft.com/office/officeart/2008/layout/VerticalCurvedList"/>
    <dgm:cxn modelId="{065793AD-3F53-453C-8F9F-243661F92ACE}" type="presParOf" srcId="{369AF4C0-2B7D-4644-A7BD-6F2A9D0A328B}" destId="{5399ACD3-FF65-4D6A-81A7-BA6F340AFC0A}" srcOrd="14" destOrd="0" presId="urn:microsoft.com/office/officeart/2008/layout/VerticalCurvedList"/>
    <dgm:cxn modelId="{25A1E9A5-C62E-4227-B01A-78F155101C71}" type="presParOf" srcId="{5399ACD3-FF65-4D6A-81A7-BA6F340AFC0A}" destId="{8875A93E-11DD-489D-BD8B-D59BAF427400}" srcOrd="0" destOrd="0" presId="urn:microsoft.com/office/officeart/2008/layout/VerticalCurv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Outcome</a:t>
          </a: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30-year-old male professional trumpet player had an asymptomatic deep vertical FBI #32 and a </a:t>
          </a:r>
          <a:r>
            <a:rPr lang="en-US" sz="18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perio</a:t>
          </a: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 defect distal to #31.</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PA showed the M root within 2-3mm of the IAC.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practitioner's assistant discussed the risks, benefits, and alternatives, and also advised the patient of the risk of paresthesia.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The patient was provided with a </a:t>
          </a:r>
          <a:r>
            <a:rPr lang="en-US" sz="1800" i="1" dirty="0" smtClean="0">
              <a:solidFill>
                <a:schemeClr val="tx2"/>
              </a:solidFill>
              <a:latin typeface="Arial" panose="020B0604020202020204" pitchFamily="34" charset="0"/>
              <a:ea typeface="Tahoma" panose="020B0604030504040204" pitchFamily="34" charset="0"/>
              <a:cs typeface="Arial" panose="020B0604020202020204" pitchFamily="34" charset="0"/>
            </a:rPr>
            <a:t>consent form</a:t>
          </a:r>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 He signed the form, although he admitted he did not read it. </a:t>
          </a:r>
        </a:p>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The surgery was uneventful. #32 was sectioned, and the roots were removed.</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fter 1 week, the patient was found to be numb over the V3 distribution. He was "slightly less numb" at the 1 month visit. He was referred to an OMFS after 6 months.</a:t>
          </a:r>
        </a:p>
        <a:p>
          <a:pPr algn="just"/>
          <a:r>
            <a:rPr lang="en-US" sz="1800" b="1" dirty="0" smtClean="0">
              <a:solidFill>
                <a:schemeClr val="tx2"/>
              </a:solidFill>
              <a:latin typeface="Arial" panose="020B0604020202020204" pitchFamily="34" charset="0"/>
              <a:ea typeface="Tahoma" panose="020B0604030504040204" pitchFamily="34" charset="0"/>
              <a:cs typeface="Arial" panose="020B0604020202020204" pitchFamily="34" charset="0"/>
            </a:rPr>
            <a:t>The Problem</a:t>
          </a:r>
          <a:r>
            <a:rPr lang="en-US" sz="1800" b="0" dirty="0" smtClean="0">
              <a:solidFill>
                <a:schemeClr val="tx2"/>
              </a:solidFill>
              <a:latin typeface="Arial" panose="020B0604020202020204" pitchFamily="34" charset="0"/>
              <a:ea typeface="Tahoma" panose="020B0604030504040204" pitchFamily="34" charset="0"/>
              <a:cs typeface="Arial" panose="020B0604020202020204" pitchFamily="34" charset="0"/>
            </a:rPr>
            <a:t>: Because the patient was numb, he could not </a:t>
          </a:r>
          <a:r>
            <a:rPr lang="en-US" sz="1800" b="0" i="1" dirty="0" smtClean="0">
              <a:solidFill>
                <a:schemeClr val="tx2"/>
              </a:solidFill>
              <a:latin typeface="Arial" panose="020B0604020202020204" pitchFamily="34" charset="0"/>
              <a:ea typeface="Tahoma" panose="020B0604030504040204" pitchFamily="34" charset="0"/>
              <a:cs typeface="Arial" panose="020B0604020202020204" pitchFamily="34" charset="0"/>
            </a:rPr>
            <a:t>embouchure</a:t>
          </a:r>
          <a:r>
            <a:rPr lang="en-US" sz="1800" b="0" i="0" dirty="0" smtClean="0">
              <a:solidFill>
                <a:schemeClr val="tx2"/>
              </a:solidFill>
              <a:latin typeface="Arial" panose="020B0604020202020204" pitchFamily="34" charset="0"/>
              <a:ea typeface="Tahoma" panose="020B0604030504040204" pitchFamily="34" charset="0"/>
              <a:cs typeface="Arial" panose="020B0604020202020204" pitchFamily="34" charset="0"/>
            </a:rPr>
            <a:t> to play the trump, and could not return to his career. </a:t>
          </a:r>
          <a:endParaRPr lang="en-US" sz="18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8"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8" custScaleX="107904" custScaleY="34122" custLinFactNeighborY="-2024"/>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8" custScaleX="82140" custScaleY="75117" custLinFactNeighborY="3036"/>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8" custScaleX="107265" custScaleY="151926"/>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NeighborY="31731"/>
      <dgm:spPr/>
    </dgm:pt>
    <dgm:pt modelId="{92D138F1-8B56-4159-B906-19F28E9DE209}" type="pres">
      <dgm:prSet presAssocID="{852EC5D7-2988-497B-8DFC-D93EE5DE1299}" presName="vertSpace2b" presStyleCnt="0"/>
      <dgm:spPr/>
    </dgm:pt>
    <dgm:pt modelId="{609B4E52-5D9D-43A0-B416-498D003FB475}" type="pres">
      <dgm:prSet presAssocID="{06F5DDDE-305A-4955-A0AB-D2D38EE3B7A3}" presName="thickLine" presStyleLbl="alignNode1" presStyleIdx="2" presStyleCnt="4" custLinFactNeighborY="13733"/>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8" custScaleX="82140" custScaleY="44257" custLinFactNeighborY="12817"/>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5" presStyleCnt="8" custScaleX="103390" custScaleY="53926" custLinFactNeighborX="-644" custLinFactNeighborY="11226"/>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Y="1066776" custLinFactNeighborX="4" custLinFactNeighborY="1100000"/>
      <dgm:spPr/>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3" presStyleCnt="4" custLinFactY="1940" custLinFactNeighborY="100000"/>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6" presStyleCnt="8"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7" presStyleCnt="8"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NeighborX="665" custLinFactNeighborY="-51246"/>
      <dgm:spPr/>
    </dgm:pt>
    <dgm:pt modelId="{BC54831F-D0F7-4893-942C-3146BA8B55B9}" type="pres">
      <dgm:prSet presAssocID="{8D948412-9783-4022-82B2-587E101905ED}" presName="vertSpace2b" presStyleCnt="0"/>
      <dgm:spPr/>
    </dgm:pt>
  </dgm:ptLst>
  <dgm:cxnLst>
    <dgm:cxn modelId="{4AA94CD7-1C8F-4161-A387-3D5EBE3A43E6}" srcId="{06F5DDDE-305A-4955-A0AB-D2D38EE3B7A3}" destId="{DEA83930-9E9C-4AE5-A15C-D0032CFE6786}" srcOrd="0" destOrd="0" parTransId="{C35B0316-5782-43A5-A4DC-C346CEBB4ECA}" sibTransId="{E779925D-5338-45F1-B180-0CBBD157D849}"/>
    <dgm:cxn modelId="{04DD017A-B020-40AC-9B2A-6E682DD56A6B}" type="presOf" srcId="{FEA87826-C15B-43C1-909B-511BC9B926D0}" destId="{6AA46DBA-49E0-44B0-AE30-BA17A235D9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401B2DB-47D5-413A-96A8-29E99941E1F9}" srcId="{FEA87826-C15B-43C1-909B-511BC9B926D0}" destId="{B86EE3D4-4775-4A9F-833F-765F6096EC9A}" srcOrd="3" destOrd="0" parTransId="{C737A28C-CEE8-449B-816E-C8BDFC6B3358}" sibTransId="{DD12A532-FC1C-4E79-9FC8-5C51B1E2AD09}"/>
    <dgm:cxn modelId="{9F615978-CC8F-4442-8F14-33E0005F7986}" srcId="{FEA87826-C15B-43C1-909B-511BC9B926D0}" destId="{06F5DDDE-305A-4955-A0AB-D2D38EE3B7A3}" srcOrd="2" destOrd="0" parTransId="{266C048C-C077-4D3B-9B64-666DC5EAFD61}" sibTransId="{A1C3020F-1823-4149-AAB3-B53E784D2199}"/>
    <dgm:cxn modelId="{113E6259-76BA-4CE5-88A9-A4E31B62E9E1}" type="presOf" srcId="{852EC5D7-2988-497B-8DFC-D93EE5DE1299}" destId="{4C4E2648-F763-4831-9507-366D9F98CAB8}"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454A42C6-D577-407A-B676-68D9123F7835}" type="presOf" srcId="{8B11413A-A39D-48C0-984F-ECABA70A5067}" destId="{0FE7586A-E0FC-4D42-8C55-A31D2EC2E4D6}"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9C0DF200-96F9-4D06-878F-261C7BE5780B}" srcId="{9913E13F-F5D1-4AB9-9C3E-6922DA30100F}" destId="{AFB19399-1F4C-4153-8F69-D7E391AF8EED}" srcOrd="0" destOrd="0" parTransId="{B74B925C-5EA5-4DBC-802C-4CCC328AE0A3}" sibTransId="{54DC3CCD-AC43-47B6-BF73-ADDD32497CBF}"/>
    <dgm:cxn modelId="{5B03FC76-E2D3-4781-95E4-7E4397118154}" type="presOf" srcId="{DEA83930-9E9C-4AE5-A15C-D0032CFE6786}" destId="{3395C0C5-F2A4-4D46-BF37-D05E3BBB4DA5}"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EE78B0F-C07D-49E2-911E-95F1801FE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0AB865B-6AAF-4B8B-A9A6-9ACF3B2438E9}">
      <dgm:prSet phldrT="[Text]" custT="1"/>
      <dgm:spPr/>
      <dgm:t>
        <a:bodyPr/>
        <a:lstStyle/>
        <a:p>
          <a:r>
            <a:rPr lang="en-US" sz="3000" dirty="0" smtClean="0"/>
            <a:t>Informed Consent Risk Tips</a:t>
          </a:r>
          <a:endParaRPr lang="en-US" sz="3000" dirty="0"/>
        </a:p>
      </dgm:t>
    </dgm:pt>
    <dgm:pt modelId="{A7BE3B71-3187-4E24-8A1B-ECECDB86CE3D}" type="parTrans" cxnId="{A263E406-09DC-49F3-83D2-7B4758993A09}">
      <dgm:prSet/>
      <dgm:spPr/>
      <dgm:t>
        <a:bodyPr/>
        <a:lstStyle/>
        <a:p>
          <a:endParaRPr lang="en-US" sz="2400"/>
        </a:p>
      </dgm:t>
    </dgm:pt>
    <dgm:pt modelId="{0116BA1D-D6DE-4D2F-8849-DCAA9B00FF6F}" type="sibTrans" cxnId="{A263E406-09DC-49F3-83D2-7B4758993A09}">
      <dgm:prSet/>
      <dgm:spPr/>
      <dgm:t>
        <a:bodyPr/>
        <a:lstStyle/>
        <a:p>
          <a:endParaRPr lang="en-US" sz="2400"/>
        </a:p>
      </dgm:t>
    </dgm:pt>
    <dgm:pt modelId="{F1DEEE62-FDF7-4465-8DFD-12ECAD17359C}">
      <dgm:prSet custT="1"/>
      <dgm:spPr/>
      <dgm:t>
        <a:bodyPr/>
        <a:lstStyle/>
        <a:p>
          <a:pPr>
            <a:lnSpc>
              <a:spcPct val="100000"/>
            </a:lnSpc>
            <a:spcAft>
              <a:spcPts val="1200"/>
            </a:spcAft>
          </a:pPr>
          <a:endParaRPr lang="en-US" sz="2400" dirty="0">
            <a:solidFill>
              <a:schemeClr val="tx2"/>
            </a:solidFill>
          </a:endParaRPr>
        </a:p>
      </dgm:t>
    </dgm:pt>
    <dgm:pt modelId="{D58AFEB4-CD26-4E45-8212-8BABC2552F32}" type="parTrans" cxnId="{DD6EBC45-6B69-4A31-8700-74A4867CE9AC}">
      <dgm:prSet/>
      <dgm:spPr/>
      <dgm:t>
        <a:bodyPr/>
        <a:lstStyle/>
        <a:p>
          <a:endParaRPr lang="en-US"/>
        </a:p>
      </dgm:t>
    </dgm:pt>
    <dgm:pt modelId="{3DA44AAA-5BFF-4D97-8728-50D3DF578A67}" type="sibTrans" cxnId="{DD6EBC45-6B69-4A31-8700-74A4867CE9AC}">
      <dgm:prSet/>
      <dgm:spPr/>
      <dgm:t>
        <a:bodyPr/>
        <a:lstStyle/>
        <a:p>
          <a:endParaRPr lang="en-US"/>
        </a:p>
      </dgm:t>
    </dgm:pt>
    <dgm:pt modelId="{BF7A3683-CCBA-41BB-8586-8D638FCBE1B1}">
      <dgm:prSet custT="1"/>
      <dgm:spPr/>
      <dgm:t>
        <a:bodyPr/>
        <a:lstStyle/>
        <a:p>
          <a:pPr>
            <a:lnSpc>
              <a:spcPct val="100000"/>
            </a:lnSpc>
            <a:spcAft>
              <a:spcPts val="1200"/>
            </a:spcAft>
          </a:pPr>
          <a:endParaRPr lang="en-US" sz="1800" dirty="0">
            <a:solidFill>
              <a:schemeClr val="tx2"/>
            </a:solidFill>
            <a:latin typeface="+mj-lt"/>
          </a:endParaRPr>
        </a:p>
      </dgm:t>
    </dgm:pt>
    <dgm:pt modelId="{541E169B-6AB3-43AD-9576-774B3CAFFB4C}" type="parTrans" cxnId="{4A4005C7-D151-4261-9E00-4F5A8ABECB62}">
      <dgm:prSet/>
      <dgm:spPr/>
      <dgm:t>
        <a:bodyPr/>
        <a:lstStyle/>
        <a:p>
          <a:endParaRPr lang="en-US"/>
        </a:p>
      </dgm:t>
    </dgm:pt>
    <dgm:pt modelId="{C9C0CA69-190C-4BBE-B422-F5B998FBADE8}" type="sibTrans" cxnId="{4A4005C7-D151-4261-9E00-4F5A8ABECB62}">
      <dgm:prSet/>
      <dgm:spPr/>
      <dgm:t>
        <a:bodyPr/>
        <a:lstStyle/>
        <a:p>
          <a:endParaRPr lang="en-US"/>
        </a:p>
      </dgm:t>
    </dgm:pt>
    <dgm:pt modelId="{CD4626D5-8CC5-41C9-9063-B845BA922E28}">
      <dgm:prSet custT="1"/>
      <dgm:spPr/>
      <dgm:t>
        <a:bodyPr/>
        <a:lstStyle/>
        <a:p>
          <a:pPr>
            <a:lnSpc>
              <a:spcPct val="100000"/>
            </a:lnSpc>
            <a:spcAft>
              <a:spcPts val="1200"/>
            </a:spcAft>
          </a:pPr>
          <a:r>
            <a:rPr lang="en-US" sz="2500" dirty="0" smtClean="0">
              <a:solidFill>
                <a:schemeClr val="accent1"/>
              </a:solidFill>
              <a:latin typeface="+mj-lt"/>
            </a:rPr>
            <a:t>Adequate and effective informed consent is a process, not merely a form. </a:t>
          </a:r>
          <a:endParaRPr lang="en-US" sz="2500" dirty="0">
            <a:solidFill>
              <a:schemeClr val="tx2"/>
            </a:solidFill>
            <a:latin typeface="+mj-lt"/>
          </a:endParaRPr>
        </a:p>
      </dgm:t>
    </dgm:pt>
    <dgm:pt modelId="{8097E680-0197-4FFD-A780-A45E1F9EE998}" type="parTrans" cxnId="{74A66DD8-1429-469D-BC9D-0A6F8A7C5C60}">
      <dgm:prSet/>
      <dgm:spPr/>
      <dgm:t>
        <a:bodyPr/>
        <a:lstStyle/>
        <a:p>
          <a:endParaRPr lang="en-US"/>
        </a:p>
      </dgm:t>
    </dgm:pt>
    <dgm:pt modelId="{518BB191-AD4B-4916-AA4D-8650B4D6006D}" type="sibTrans" cxnId="{74A66DD8-1429-469D-BC9D-0A6F8A7C5C60}">
      <dgm:prSet/>
      <dgm:spPr/>
      <dgm:t>
        <a:bodyPr/>
        <a:lstStyle/>
        <a:p>
          <a:endParaRPr lang="en-US"/>
        </a:p>
      </dgm:t>
    </dgm:pt>
    <dgm:pt modelId="{C0C93E54-74B7-44B7-A15C-B44F04A8F513}">
      <dgm:prSet custT="1"/>
      <dgm:spPr/>
      <dgm:t>
        <a:bodyPr/>
        <a:lstStyle/>
        <a:p>
          <a:pPr>
            <a:lnSpc>
              <a:spcPct val="100000"/>
            </a:lnSpc>
            <a:spcAft>
              <a:spcPts val="1200"/>
            </a:spcAft>
          </a:pPr>
          <a:endParaRPr lang="en-US" sz="2500" dirty="0">
            <a:solidFill>
              <a:schemeClr val="accent1"/>
            </a:solidFill>
            <a:latin typeface="+mj-lt"/>
          </a:endParaRPr>
        </a:p>
      </dgm:t>
    </dgm:pt>
    <dgm:pt modelId="{FFE3037D-7869-416E-9013-DF9D18988C39}" type="parTrans" cxnId="{A7682372-DDBF-468C-9309-1C6796C82572}">
      <dgm:prSet/>
      <dgm:spPr/>
      <dgm:t>
        <a:bodyPr/>
        <a:lstStyle/>
        <a:p>
          <a:endParaRPr lang="en-US"/>
        </a:p>
      </dgm:t>
    </dgm:pt>
    <dgm:pt modelId="{706A2A77-93AF-4DE3-BF21-F4966CCA6EBF}" type="sibTrans" cxnId="{A7682372-DDBF-468C-9309-1C6796C82572}">
      <dgm:prSet/>
      <dgm:spPr/>
      <dgm:t>
        <a:bodyPr/>
        <a:lstStyle/>
        <a:p>
          <a:endParaRPr lang="en-US"/>
        </a:p>
      </dgm:t>
    </dgm:pt>
    <dgm:pt modelId="{01586762-0386-47F9-8300-9B2EA124E66E}">
      <dgm:prSet custT="1"/>
      <dgm:spPr/>
      <dgm:t>
        <a:bodyPr/>
        <a:lstStyle/>
        <a:p>
          <a:pPr>
            <a:lnSpc>
              <a:spcPct val="100000"/>
            </a:lnSpc>
            <a:spcAft>
              <a:spcPts val="1200"/>
            </a:spcAft>
          </a:pPr>
          <a:endParaRPr lang="en-US" sz="2500" dirty="0">
            <a:solidFill>
              <a:schemeClr val="accent1"/>
            </a:solidFill>
            <a:latin typeface="+mj-lt"/>
          </a:endParaRPr>
        </a:p>
      </dgm:t>
    </dgm:pt>
    <dgm:pt modelId="{614652D2-85F4-4296-87A9-8A406AF59A4A}" type="parTrans" cxnId="{F695F281-A07D-4AA1-A588-D55103379023}">
      <dgm:prSet/>
      <dgm:spPr/>
      <dgm:t>
        <a:bodyPr/>
        <a:lstStyle/>
        <a:p>
          <a:endParaRPr lang="en-US"/>
        </a:p>
      </dgm:t>
    </dgm:pt>
    <dgm:pt modelId="{9DA11FBB-824D-4652-9590-4593341F624B}" type="sibTrans" cxnId="{F695F281-A07D-4AA1-A588-D55103379023}">
      <dgm:prSet/>
      <dgm:spPr/>
      <dgm:t>
        <a:bodyPr/>
        <a:lstStyle/>
        <a:p>
          <a:endParaRPr lang="en-US"/>
        </a:p>
      </dgm:t>
    </dgm:pt>
    <dgm:pt modelId="{6CC88AD4-A6A8-4A04-983F-ECFC5DE4426C}">
      <dgm:prSet custT="1"/>
      <dgm:spPr/>
      <dgm:t>
        <a:bodyPr/>
        <a:lstStyle/>
        <a:p>
          <a:pPr>
            <a:lnSpc>
              <a:spcPct val="100000"/>
            </a:lnSpc>
            <a:spcAft>
              <a:spcPts val="1200"/>
            </a:spcAft>
          </a:pPr>
          <a:endParaRPr lang="en-US" sz="2500" dirty="0">
            <a:solidFill>
              <a:schemeClr val="tx2"/>
            </a:solidFill>
            <a:latin typeface="+mj-lt"/>
          </a:endParaRPr>
        </a:p>
      </dgm:t>
    </dgm:pt>
    <dgm:pt modelId="{412457F4-B1AF-470A-92F9-69BC13949FBA}" type="parTrans" cxnId="{5B7B3D4C-D821-4838-8FEC-4955EC608920}">
      <dgm:prSet/>
      <dgm:spPr/>
      <dgm:t>
        <a:bodyPr/>
        <a:lstStyle/>
        <a:p>
          <a:endParaRPr lang="en-US"/>
        </a:p>
      </dgm:t>
    </dgm:pt>
    <dgm:pt modelId="{88096133-AC9F-4F54-847F-A07E6C06CF8D}" type="sibTrans" cxnId="{5B7B3D4C-D821-4838-8FEC-4955EC608920}">
      <dgm:prSet/>
      <dgm:spPr/>
      <dgm:t>
        <a:bodyPr/>
        <a:lstStyle/>
        <a:p>
          <a:endParaRPr lang="en-US"/>
        </a:p>
      </dgm:t>
    </dgm:pt>
    <dgm:pt modelId="{3B361CDC-FFC7-406F-AAEF-F74026761C14}">
      <dgm:prSet custT="1"/>
      <dgm:spPr/>
      <dgm:t>
        <a:bodyPr/>
        <a:lstStyle/>
        <a:p>
          <a:endParaRPr lang="en-US" sz="2500" dirty="0">
            <a:solidFill>
              <a:schemeClr val="accent1"/>
            </a:solidFill>
            <a:latin typeface="+mj-lt"/>
          </a:endParaRPr>
        </a:p>
      </dgm:t>
    </dgm:pt>
    <dgm:pt modelId="{121FEB6D-8612-415F-984D-03F6952EEA46}" type="parTrans" cxnId="{F84FB1F3-A7F4-4CB6-B1E2-43F9D66C4A33}">
      <dgm:prSet/>
      <dgm:spPr/>
      <dgm:t>
        <a:bodyPr/>
        <a:lstStyle/>
        <a:p>
          <a:endParaRPr lang="en-US"/>
        </a:p>
      </dgm:t>
    </dgm:pt>
    <dgm:pt modelId="{2D4DF362-ECC3-4B1F-ACDB-F3A1C22DE9F7}" type="sibTrans" cxnId="{F84FB1F3-A7F4-4CB6-B1E2-43F9D66C4A33}">
      <dgm:prSet/>
      <dgm:spPr/>
      <dgm:t>
        <a:bodyPr/>
        <a:lstStyle/>
        <a:p>
          <a:endParaRPr lang="en-US"/>
        </a:p>
      </dgm:t>
    </dgm:pt>
    <dgm:pt modelId="{2178895A-4EC5-48B2-9DFB-9F2809F83CB7}">
      <dgm:prSet custT="1"/>
      <dgm:spPr/>
      <dgm:t>
        <a:bodyPr/>
        <a:lstStyle/>
        <a:p>
          <a:r>
            <a:rPr lang="en-US" sz="2500" dirty="0" smtClean="0">
              <a:solidFill>
                <a:schemeClr val="accent1"/>
              </a:solidFill>
              <a:latin typeface="+mj-lt"/>
            </a:rPr>
            <a:t>Proper implementation of the informed consent process helps engage patients in their care and should be viewed as a tool that supports shared decision-making. </a:t>
          </a:r>
          <a:endParaRPr lang="en-US" sz="2500" dirty="0">
            <a:solidFill>
              <a:schemeClr val="accent1"/>
            </a:solidFill>
            <a:latin typeface="+mj-lt"/>
          </a:endParaRPr>
        </a:p>
      </dgm:t>
    </dgm:pt>
    <dgm:pt modelId="{8E04EC21-EA72-4C43-A0F6-A9AC50F565C9}" type="parTrans" cxnId="{F9AB48B5-7D27-48C2-A229-2DB9C4BFA7B3}">
      <dgm:prSet/>
      <dgm:spPr/>
      <dgm:t>
        <a:bodyPr/>
        <a:lstStyle/>
        <a:p>
          <a:endParaRPr lang="en-US"/>
        </a:p>
      </dgm:t>
    </dgm:pt>
    <dgm:pt modelId="{6BF60BDC-2614-4444-94A9-52AEBCF71E04}" type="sibTrans" cxnId="{F9AB48B5-7D27-48C2-A229-2DB9C4BFA7B3}">
      <dgm:prSet/>
      <dgm:spPr/>
      <dgm:t>
        <a:bodyPr/>
        <a:lstStyle/>
        <a:p>
          <a:endParaRPr lang="en-US"/>
        </a:p>
      </dgm:t>
    </dgm:pt>
    <dgm:pt modelId="{9FD01720-444B-4B1E-A0A2-A56330280157}">
      <dgm:prSet custT="1"/>
      <dgm:spPr/>
      <dgm:t>
        <a:bodyPr/>
        <a:lstStyle/>
        <a:p>
          <a:endParaRPr lang="en-US" sz="2500" dirty="0">
            <a:solidFill>
              <a:schemeClr val="accent1"/>
            </a:solidFill>
            <a:latin typeface="+mj-lt"/>
          </a:endParaRPr>
        </a:p>
      </dgm:t>
    </dgm:pt>
    <dgm:pt modelId="{052E8B34-ED63-4465-8316-7D33C2B00415}" type="parTrans" cxnId="{F4FFC3C9-735A-4A18-A16B-750E71A9C607}">
      <dgm:prSet/>
      <dgm:spPr/>
      <dgm:t>
        <a:bodyPr/>
        <a:lstStyle/>
        <a:p>
          <a:endParaRPr lang="en-US"/>
        </a:p>
      </dgm:t>
    </dgm:pt>
    <dgm:pt modelId="{BC39A635-9BD0-4F7C-AB14-E9B1B07D64A2}" type="sibTrans" cxnId="{F4FFC3C9-735A-4A18-A16B-750E71A9C607}">
      <dgm:prSet/>
      <dgm:spPr/>
      <dgm:t>
        <a:bodyPr/>
        <a:lstStyle/>
        <a:p>
          <a:endParaRPr lang="en-US"/>
        </a:p>
      </dgm:t>
    </dgm:pt>
    <dgm:pt modelId="{B1BBCBE2-01FE-4B8A-BA0C-D7FE5827745B}">
      <dgm:prSet custT="1"/>
      <dgm:spPr/>
      <dgm:t>
        <a:bodyPr/>
        <a:lstStyle/>
        <a:p>
          <a:r>
            <a:rPr lang="en-US" sz="2500" b="0" i="0" dirty="0" smtClean="0">
              <a:solidFill>
                <a:schemeClr val="accent1"/>
              </a:solidFill>
              <a:latin typeface="+mj-lt"/>
            </a:rPr>
            <a:t>The "teach-back" method can help gauge patient comprehension of information received during the informed consent process. </a:t>
          </a:r>
          <a:endParaRPr lang="en-US" sz="2500" dirty="0">
            <a:solidFill>
              <a:schemeClr val="accent1"/>
            </a:solidFill>
            <a:latin typeface="+mj-lt"/>
          </a:endParaRPr>
        </a:p>
      </dgm:t>
    </dgm:pt>
    <dgm:pt modelId="{313D4023-A0AE-427F-9BD0-31BE36C5C78C}" type="parTrans" cxnId="{A3DA0A67-9D5C-45C0-BA4E-7D703D1E02B7}">
      <dgm:prSet/>
      <dgm:spPr/>
      <dgm:t>
        <a:bodyPr/>
        <a:lstStyle/>
        <a:p>
          <a:endParaRPr lang="en-US"/>
        </a:p>
      </dgm:t>
    </dgm:pt>
    <dgm:pt modelId="{5DC9BF46-6592-41FE-83F3-B7D685595343}" type="sibTrans" cxnId="{A3DA0A67-9D5C-45C0-BA4E-7D703D1E02B7}">
      <dgm:prSet/>
      <dgm:spPr/>
      <dgm:t>
        <a:bodyPr/>
        <a:lstStyle/>
        <a:p>
          <a:endParaRPr lang="en-US"/>
        </a:p>
      </dgm:t>
    </dgm:pt>
    <dgm:pt modelId="{B1705B4E-3B32-4854-BED6-DD034CCD61A3}" type="pres">
      <dgm:prSet presAssocID="{5EE78B0F-C07D-49E2-911E-95F1801FE48A}" presName="linear" presStyleCnt="0">
        <dgm:presLayoutVars>
          <dgm:animLvl val="lvl"/>
          <dgm:resizeHandles val="exact"/>
        </dgm:presLayoutVars>
      </dgm:prSet>
      <dgm:spPr/>
      <dgm:t>
        <a:bodyPr/>
        <a:lstStyle/>
        <a:p>
          <a:endParaRPr lang="en-US"/>
        </a:p>
      </dgm:t>
    </dgm:pt>
    <dgm:pt modelId="{C0672512-A2E2-43CB-B96C-CF4C96891164}" type="pres">
      <dgm:prSet presAssocID="{10AB865B-6AAF-4B8B-A9A6-9ACF3B2438E9}" presName="parentText" presStyleLbl="node1" presStyleIdx="0" presStyleCnt="1" custLinFactNeighborY="-6399">
        <dgm:presLayoutVars>
          <dgm:chMax val="0"/>
          <dgm:bulletEnabled val="1"/>
        </dgm:presLayoutVars>
      </dgm:prSet>
      <dgm:spPr/>
      <dgm:t>
        <a:bodyPr/>
        <a:lstStyle/>
        <a:p>
          <a:endParaRPr lang="en-US"/>
        </a:p>
      </dgm:t>
    </dgm:pt>
    <dgm:pt modelId="{BC10CFDC-D045-4AC3-A2C3-3A5C7F5B3250}" type="pres">
      <dgm:prSet presAssocID="{10AB865B-6AAF-4B8B-A9A6-9ACF3B2438E9}" presName="childText" presStyleLbl="revTx" presStyleIdx="0" presStyleCnt="1" custScaleX="100000" custScaleY="92767" custLinFactNeighborY="-50405">
        <dgm:presLayoutVars>
          <dgm:bulletEnabled val="1"/>
        </dgm:presLayoutVars>
      </dgm:prSet>
      <dgm:spPr/>
      <dgm:t>
        <a:bodyPr/>
        <a:lstStyle/>
        <a:p>
          <a:endParaRPr lang="en-US"/>
        </a:p>
      </dgm:t>
    </dgm:pt>
  </dgm:ptLst>
  <dgm:cxnLst>
    <dgm:cxn modelId="{DD6EBC45-6B69-4A31-8700-74A4867CE9AC}" srcId="{10AB865B-6AAF-4B8B-A9A6-9ACF3B2438E9}" destId="{F1DEEE62-FDF7-4465-8DFD-12ECAD17359C}" srcOrd="0" destOrd="0" parTransId="{D58AFEB4-CD26-4E45-8212-8BABC2552F32}" sibTransId="{3DA44AAA-5BFF-4D97-8728-50D3DF578A67}"/>
    <dgm:cxn modelId="{484125A8-C44E-4DD8-ACF2-C7E26E0889C9}" type="presOf" srcId="{B1BBCBE2-01FE-4B8A-BA0C-D7FE5827745B}" destId="{BC10CFDC-D045-4AC3-A2C3-3A5C7F5B3250}" srcOrd="0" destOrd="6" presId="urn:microsoft.com/office/officeart/2005/8/layout/vList2"/>
    <dgm:cxn modelId="{5B7B3D4C-D821-4838-8FEC-4955EC608920}" srcId="{10AB865B-6AAF-4B8B-A9A6-9ACF3B2438E9}" destId="{6CC88AD4-A6A8-4A04-983F-ECFC5DE4426C}" srcOrd="1" destOrd="0" parTransId="{412457F4-B1AF-470A-92F9-69BC13949FBA}" sibTransId="{88096133-AC9F-4F54-847F-A07E6C06CF8D}"/>
    <dgm:cxn modelId="{4A4005C7-D151-4261-9E00-4F5A8ABECB62}" srcId="{10AB865B-6AAF-4B8B-A9A6-9ACF3B2438E9}" destId="{BF7A3683-CCBA-41BB-8586-8D638FCBE1B1}" srcOrd="9" destOrd="0" parTransId="{541E169B-6AB3-43AD-9576-774B3CAFFB4C}" sibTransId="{C9C0CA69-190C-4BBE-B422-F5B998FBADE8}"/>
    <dgm:cxn modelId="{FAA55125-D260-440A-8327-34B2A9CDB44C}" type="presOf" srcId="{5EE78B0F-C07D-49E2-911E-95F1801FE48A}" destId="{B1705B4E-3B32-4854-BED6-DD034CCD61A3}" srcOrd="0" destOrd="0" presId="urn:microsoft.com/office/officeart/2005/8/layout/vList2"/>
    <dgm:cxn modelId="{ED4CFAB1-09CF-43C3-B349-33D8C3C89AE6}" type="presOf" srcId="{10AB865B-6AAF-4B8B-A9A6-9ACF3B2438E9}" destId="{C0672512-A2E2-43CB-B96C-CF4C96891164}" srcOrd="0" destOrd="0" presId="urn:microsoft.com/office/officeart/2005/8/layout/vList2"/>
    <dgm:cxn modelId="{F695F281-A07D-4AA1-A588-D55103379023}" srcId="{10AB865B-6AAF-4B8B-A9A6-9ACF3B2438E9}" destId="{01586762-0386-47F9-8300-9B2EA124E66E}" srcOrd="7" destOrd="0" parTransId="{614652D2-85F4-4296-87A9-8A406AF59A4A}" sibTransId="{9DA11FBB-824D-4652-9590-4593341F624B}"/>
    <dgm:cxn modelId="{A7682372-DDBF-468C-9309-1C6796C82572}" srcId="{10AB865B-6AAF-4B8B-A9A6-9ACF3B2438E9}" destId="{C0C93E54-74B7-44B7-A15C-B44F04A8F513}" srcOrd="8" destOrd="0" parTransId="{FFE3037D-7869-416E-9013-DF9D18988C39}" sibTransId="{706A2A77-93AF-4DE3-BF21-F4966CCA6EBF}"/>
    <dgm:cxn modelId="{356D6B7E-904D-4C60-9CC9-ABBE73757F48}" type="presOf" srcId="{CD4626D5-8CC5-41C9-9063-B845BA922E28}" destId="{BC10CFDC-D045-4AC3-A2C3-3A5C7F5B3250}" srcOrd="0" destOrd="2" presId="urn:microsoft.com/office/officeart/2005/8/layout/vList2"/>
    <dgm:cxn modelId="{76029AE5-F432-4467-AFF5-34E2F94FDD1A}" type="presOf" srcId="{2178895A-4EC5-48B2-9DFB-9F2809F83CB7}" destId="{BC10CFDC-D045-4AC3-A2C3-3A5C7F5B3250}" srcOrd="0" destOrd="4" presId="urn:microsoft.com/office/officeart/2005/8/layout/vList2"/>
    <dgm:cxn modelId="{F4FFC3C9-735A-4A18-A16B-750E71A9C607}" srcId="{10AB865B-6AAF-4B8B-A9A6-9ACF3B2438E9}" destId="{9FD01720-444B-4B1E-A0A2-A56330280157}" srcOrd="5" destOrd="0" parTransId="{052E8B34-ED63-4465-8316-7D33C2B00415}" sibTransId="{BC39A635-9BD0-4F7C-AB14-E9B1B07D64A2}"/>
    <dgm:cxn modelId="{E7C461FA-0C94-4B19-83F2-87C92131946F}" type="presOf" srcId="{9FD01720-444B-4B1E-A0A2-A56330280157}" destId="{BC10CFDC-D045-4AC3-A2C3-3A5C7F5B3250}" srcOrd="0" destOrd="5" presId="urn:microsoft.com/office/officeart/2005/8/layout/vList2"/>
    <dgm:cxn modelId="{A3DA0A67-9D5C-45C0-BA4E-7D703D1E02B7}" srcId="{10AB865B-6AAF-4B8B-A9A6-9ACF3B2438E9}" destId="{B1BBCBE2-01FE-4B8A-BA0C-D7FE5827745B}" srcOrd="6" destOrd="0" parTransId="{313D4023-A0AE-427F-9BD0-31BE36C5C78C}" sibTransId="{5DC9BF46-6592-41FE-83F3-B7D685595343}"/>
    <dgm:cxn modelId="{F9AB48B5-7D27-48C2-A229-2DB9C4BFA7B3}" srcId="{10AB865B-6AAF-4B8B-A9A6-9ACF3B2438E9}" destId="{2178895A-4EC5-48B2-9DFB-9F2809F83CB7}" srcOrd="4" destOrd="0" parTransId="{8E04EC21-EA72-4C43-A0F6-A9AC50F565C9}" sibTransId="{6BF60BDC-2614-4444-94A9-52AEBCF71E04}"/>
    <dgm:cxn modelId="{71018181-F6BA-44F6-BB62-7E0C06C73B4B}" type="presOf" srcId="{F1DEEE62-FDF7-4465-8DFD-12ECAD17359C}" destId="{BC10CFDC-D045-4AC3-A2C3-3A5C7F5B3250}" srcOrd="0" destOrd="0" presId="urn:microsoft.com/office/officeart/2005/8/layout/vList2"/>
    <dgm:cxn modelId="{CE45B980-F483-476E-B223-5AB10C71E954}" type="presOf" srcId="{C0C93E54-74B7-44B7-A15C-B44F04A8F513}" destId="{BC10CFDC-D045-4AC3-A2C3-3A5C7F5B3250}" srcOrd="0" destOrd="8" presId="urn:microsoft.com/office/officeart/2005/8/layout/vList2"/>
    <dgm:cxn modelId="{F84FB1F3-A7F4-4CB6-B1E2-43F9D66C4A33}" srcId="{10AB865B-6AAF-4B8B-A9A6-9ACF3B2438E9}" destId="{3B361CDC-FFC7-406F-AAEF-F74026761C14}" srcOrd="3" destOrd="0" parTransId="{121FEB6D-8612-415F-984D-03F6952EEA46}" sibTransId="{2D4DF362-ECC3-4B1F-ACDB-F3A1C22DE9F7}"/>
    <dgm:cxn modelId="{74A66DD8-1429-469D-BC9D-0A6F8A7C5C60}" srcId="{10AB865B-6AAF-4B8B-A9A6-9ACF3B2438E9}" destId="{CD4626D5-8CC5-41C9-9063-B845BA922E28}" srcOrd="2" destOrd="0" parTransId="{8097E680-0197-4FFD-A780-A45E1F9EE998}" sibTransId="{518BB191-AD4B-4916-AA4D-8650B4D6006D}"/>
    <dgm:cxn modelId="{1F91DDB4-E37B-4C85-952F-57A3300A5A2B}" type="presOf" srcId="{6CC88AD4-A6A8-4A04-983F-ECFC5DE4426C}" destId="{BC10CFDC-D045-4AC3-A2C3-3A5C7F5B3250}" srcOrd="0" destOrd="1" presId="urn:microsoft.com/office/officeart/2005/8/layout/vList2"/>
    <dgm:cxn modelId="{E6B15286-5004-49EB-9A19-C383D19FF7AB}" type="presOf" srcId="{01586762-0386-47F9-8300-9B2EA124E66E}" destId="{BC10CFDC-D045-4AC3-A2C3-3A5C7F5B3250}" srcOrd="0" destOrd="7" presId="urn:microsoft.com/office/officeart/2005/8/layout/vList2"/>
    <dgm:cxn modelId="{A263E406-09DC-49F3-83D2-7B4758993A09}" srcId="{5EE78B0F-C07D-49E2-911E-95F1801FE48A}" destId="{10AB865B-6AAF-4B8B-A9A6-9ACF3B2438E9}" srcOrd="0" destOrd="0" parTransId="{A7BE3B71-3187-4E24-8A1B-ECECDB86CE3D}" sibTransId="{0116BA1D-D6DE-4D2F-8849-DCAA9B00FF6F}"/>
    <dgm:cxn modelId="{881279AB-EB77-4F9B-BC33-12602A278C7C}" type="presOf" srcId="{BF7A3683-CCBA-41BB-8586-8D638FCBE1B1}" destId="{BC10CFDC-D045-4AC3-A2C3-3A5C7F5B3250}" srcOrd="0" destOrd="9" presId="urn:microsoft.com/office/officeart/2005/8/layout/vList2"/>
    <dgm:cxn modelId="{F1364D2B-8123-4B62-86C2-562F49A9D767}" type="presOf" srcId="{3B361CDC-FFC7-406F-AAEF-F74026761C14}" destId="{BC10CFDC-D045-4AC3-A2C3-3A5C7F5B3250}" srcOrd="0" destOrd="3" presId="urn:microsoft.com/office/officeart/2005/8/layout/vList2"/>
    <dgm:cxn modelId="{AF8626CE-AA13-4DDB-AB30-F6CC6E402F7B}" type="presParOf" srcId="{B1705B4E-3B32-4854-BED6-DD034CCD61A3}" destId="{C0672512-A2E2-43CB-B96C-CF4C96891164}" srcOrd="0" destOrd="0" presId="urn:microsoft.com/office/officeart/2005/8/layout/vList2"/>
    <dgm:cxn modelId="{B3B3F32B-280C-46D1-B950-D3EBAB0BBF33}" type="presParOf" srcId="{B1705B4E-3B32-4854-BED6-DD034CCD61A3}" destId="{BC10CFDC-D045-4AC3-A2C3-3A5C7F5B3250}"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r>
            <a:rPr lang="en-US" sz="1800" dirty="0" smtClean="0">
              <a:solidFill>
                <a:schemeClr val="accent1"/>
              </a:solidFill>
              <a:latin typeface="+mj-lt"/>
              <a:ea typeface="Tahoma" panose="020B0604030504040204" pitchFamily="34" charset="0"/>
              <a:cs typeface="Arial" panose="020B0604020202020204" pitchFamily="34" charset="0"/>
            </a:rPr>
            <a:t>70 YOF former attorney, C, presented to her general dentist for a cleaning. Her general dentist noted an area of abnormality along the </a:t>
          </a:r>
          <a:r>
            <a:rPr lang="en-US" sz="1800" dirty="0" smtClean="0">
              <a:solidFill>
                <a:schemeClr val="accent1"/>
              </a:solidFill>
              <a:latin typeface="+mj-lt"/>
              <a:cs typeface="Times New Roman" panose="02020603050405020304" pitchFamily="18" charset="0"/>
            </a:rPr>
            <a:t>buccal gingival margin of #18 and #19 on the </a:t>
          </a:r>
          <a:r>
            <a:rPr lang="en-US" sz="1800" b="1" u="sng" dirty="0" smtClean="0">
              <a:solidFill>
                <a:schemeClr val="accent1"/>
              </a:solidFill>
              <a:latin typeface="+mj-lt"/>
              <a:cs typeface="Times New Roman" panose="02020603050405020304" pitchFamily="18" charset="0"/>
            </a:rPr>
            <a:t>left side</a:t>
          </a:r>
          <a:r>
            <a:rPr lang="en-US" sz="1800" dirty="0" smtClean="0">
              <a:solidFill>
                <a:schemeClr val="accent1"/>
              </a:solidFill>
              <a:latin typeface="+mj-lt"/>
              <a:cs typeface="Times New Roman" panose="02020603050405020304" pitchFamily="18" charset="0"/>
            </a:rPr>
            <a:t> of C's mouth. He referred her to a periodontist. </a:t>
          </a:r>
          <a:endParaRPr lang="en-US" sz="1800" dirty="0">
            <a:solidFill>
              <a:schemeClr val="accent1"/>
            </a:solidFill>
            <a:latin typeface="+mj-lt"/>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Periodontist biopsied the area, and sent the biopsy to pathologist.</a:t>
          </a:r>
        </a:p>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Pathologist returned a temporary dx of "atypical epithelial proliferation" but advised he needed a larger tissue sample. He sent a note to the periodontist. </a:t>
          </a:r>
        </a:p>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The </a:t>
          </a:r>
          <a:r>
            <a:rPr lang="en-US" sz="1800" i="0" dirty="0" err="1" smtClean="0">
              <a:solidFill>
                <a:schemeClr val="tx2"/>
              </a:solidFill>
              <a:latin typeface="Arial" panose="020B0604020202020204" pitchFamily="34" charset="0"/>
              <a:ea typeface="Tahoma" panose="020B0604030504040204" pitchFamily="34" charset="0"/>
              <a:cs typeface="Arial" panose="020B0604020202020204" pitchFamily="34" charset="0"/>
            </a:rPr>
            <a:t>Perio</a:t>
          </a:r>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 re-examined C and took another biopsy. </a:t>
          </a:r>
        </a:p>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His chart note read:</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6"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6" custScaleX="107904" custScaleY="34122" custLinFactNeighborX="-316" custLinFactNeighborY="-452"/>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3" custLinFactNeighborX="-234" custLinFactNeighborY="-4135"/>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X="-315" custLinFactNeighborY="357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6" custScaleX="82140" custScaleY="75117" custLinFactNeighborY="7001"/>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6" custScaleX="107265" custScaleY="75128" custLinFactNeighborX="-327" custLinFactNeighborY="4651"/>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3" custLinFactY="1200000" custLinFactNeighborX="260" custLinFactNeighborY="1228198"/>
      <dgm:spPr/>
      <dgm:t>
        <a:bodyPr/>
        <a:lstStyle/>
        <a:p>
          <a:endParaRPr lang="en-US"/>
        </a:p>
      </dgm:t>
    </dgm:pt>
    <dgm:pt modelId="{92D138F1-8B56-4159-B906-19F28E9DE209}" type="pres">
      <dgm:prSet presAssocID="{852EC5D7-2988-497B-8DFC-D93EE5DE1299}" presName="vertSpace2b" presStyleCnt="0"/>
      <dgm:spPr/>
    </dgm:pt>
    <dgm:pt modelId="{34E1E21A-2613-493B-8263-77F7228D4301}" type="pres">
      <dgm:prSet presAssocID="{B86EE3D4-4775-4A9F-833F-765F6096EC9A}" presName="thickLine" presStyleLbl="alignNode1" presStyleIdx="2" presStyleCnt="3" custLinFactNeighborY="76796"/>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4" presStyleCnt="6"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5" presStyleCnt="6"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2" presStyleCnt="3" custLinFactY="-162036" custLinFactNeighborY="-200000"/>
      <dgm:spPr/>
    </dgm:pt>
    <dgm:pt modelId="{BC54831F-D0F7-4893-942C-3146BA8B55B9}" type="pres">
      <dgm:prSet presAssocID="{8D948412-9783-4022-82B2-587E101905ED}" presName="vertSpace2b" presStyleCnt="0"/>
      <dgm:spPr/>
    </dgm:pt>
  </dgm:ptLst>
  <dgm:cxnLst>
    <dgm:cxn modelId="{04DD017A-B020-40AC-9B2A-6E682DD56A6B}" type="presOf" srcId="{FEA87826-C15B-43C1-909B-511BC9B926D0}" destId="{6AA46DBA-49E0-44B0-AE30-BA17A235D9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401B2DB-47D5-413A-96A8-29E99941E1F9}" srcId="{FEA87826-C15B-43C1-909B-511BC9B926D0}" destId="{B86EE3D4-4775-4A9F-833F-765F6096EC9A}" srcOrd="2" destOrd="0" parTransId="{C737A28C-CEE8-449B-816E-C8BDFC6B3358}" sibTransId="{DD12A532-FC1C-4E79-9FC8-5C51B1E2AD09}"/>
    <dgm:cxn modelId="{113E6259-76BA-4CE5-88A9-A4E31B62E9E1}" type="presOf" srcId="{852EC5D7-2988-497B-8DFC-D93EE5DE1299}" destId="{4C4E2648-F763-4831-9507-366D9F98CAB8}"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454A42C6-D577-407A-B676-68D9123F7835}" type="presOf" srcId="{8B11413A-A39D-48C0-984F-ECABA70A5067}" destId="{0FE7586A-E0FC-4D42-8C55-A31D2EC2E4D6}"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9C0DF200-96F9-4D06-878F-261C7BE5780B}" srcId="{9913E13F-F5D1-4AB9-9C3E-6922DA30100F}" destId="{AFB19399-1F4C-4153-8F69-D7E391AF8EED}" srcOrd="0" destOrd="0" parTransId="{B74B925C-5EA5-4DBC-802C-4CCC328AE0A3}" sibTransId="{54DC3CCD-AC43-47B6-BF73-ADDD32497CBF}"/>
    <dgm:cxn modelId="{0DA13AAC-803C-4775-BB2E-8096D32B2E1E}" type="presOf" srcId="{8D948412-9783-4022-82B2-587E101905ED}" destId="{AD07910F-C053-4F49-9E25-5FFC6C1BA73B}"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E6230200-78C1-4147-9066-88BD5571B979}" type="presParOf" srcId="{6AA46DBA-49E0-44B0-AE30-BA17A235D9D6}" destId="{34E1E21A-2613-493B-8263-77F7228D4301}" srcOrd="4" destOrd="0" presId="urn:microsoft.com/office/officeart/2008/layout/LinedList"/>
    <dgm:cxn modelId="{A33E6196-BA4A-4CA8-A532-514B9A2333EB}" type="presParOf" srcId="{6AA46DBA-49E0-44B0-AE30-BA17A235D9D6}" destId="{24974A66-EC0E-4B87-8DBC-6BAF19D66150}" srcOrd="5"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Summary</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accent1"/>
            </a:solidFill>
            <a:latin typeface="+mj-lt"/>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The </a:t>
          </a:r>
          <a:r>
            <a:rPr lang="en-US" sz="1800" i="0" dirty="0" err="1" smtClean="0">
              <a:solidFill>
                <a:schemeClr val="tx2"/>
              </a:solidFill>
              <a:latin typeface="Arial" panose="020B0604020202020204" pitchFamily="34" charset="0"/>
              <a:ea typeface="Tahoma" panose="020B0604030504040204" pitchFamily="34" charset="0"/>
              <a:cs typeface="Arial" panose="020B0604020202020204" pitchFamily="34" charset="0"/>
            </a:rPr>
            <a:t>Perio's</a:t>
          </a:r>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 requisition form to the pathologist reads:</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6"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6" custScaleX="107904" custScaleY="34122" custLinFactNeighborX="-316" custLinFactNeighborY="-452"/>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3" custLinFactY="400000" custLinFactNeighborX="1907" custLinFactNeighborY="416210"/>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3675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6" custScaleX="82140" custScaleY="75117" custLinFactNeighborX="1154" custLinFactNeighborY="60277"/>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6" custScaleX="107265" custScaleY="75128" custLinFactNeighborX="-379" custLinFactNeighborY="-43004"/>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3" custLinFactY="1200000" custLinFactNeighborX="260" custLinFactNeighborY="1228198"/>
      <dgm:spPr/>
      <dgm:t>
        <a:bodyPr/>
        <a:lstStyle/>
        <a:p>
          <a:endParaRPr lang="en-US"/>
        </a:p>
      </dgm:t>
    </dgm:pt>
    <dgm:pt modelId="{92D138F1-8B56-4159-B906-19F28E9DE209}" type="pres">
      <dgm:prSet presAssocID="{852EC5D7-2988-497B-8DFC-D93EE5DE1299}" presName="vertSpace2b" presStyleCnt="0"/>
      <dgm:spPr/>
    </dgm:pt>
    <dgm:pt modelId="{34E1E21A-2613-493B-8263-77F7228D4301}" type="pres">
      <dgm:prSet presAssocID="{B86EE3D4-4775-4A9F-833F-765F6096EC9A}" presName="thickLine" presStyleLbl="alignNode1" presStyleIdx="2" presStyleCnt="3" custLinFactNeighborY="76796"/>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4" presStyleCnt="6"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5" presStyleCnt="6"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2" presStyleCnt="3" custLinFactY="-162036" custLinFactNeighborY="-200000"/>
      <dgm:spPr/>
    </dgm:pt>
    <dgm:pt modelId="{BC54831F-D0F7-4893-942C-3146BA8B55B9}" type="pres">
      <dgm:prSet presAssocID="{8D948412-9783-4022-82B2-587E101905ED}" presName="vertSpace2b" presStyleCnt="0"/>
      <dgm:spPr/>
    </dgm:pt>
  </dgm:ptLst>
  <dgm:cxnLst>
    <dgm:cxn modelId="{04DD017A-B020-40AC-9B2A-6E682DD56A6B}" type="presOf" srcId="{FEA87826-C15B-43C1-909B-511BC9B926D0}" destId="{6AA46DBA-49E0-44B0-AE30-BA17A235D9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401B2DB-47D5-413A-96A8-29E99941E1F9}" srcId="{FEA87826-C15B-43C1-909B-511BC9B926D0}" destId="{B86EE3D4-4775-4A9F-833F-765F6096EC9A}" srcOrd="2" destOrd="0" parTransId="{C737A28C-CEE8-449B-816E-C8BDFC6B3358}" sibTransId="{DD12A532-FC1C-4E79-9FC8-5C51B1E2AD09}"/>
    <dgm:cxn modelId="{113E6259-76BA-4CE5-88A9-A4E31B62E9E1}" type="presOf" srcId="{852EC5D7-2988-497B-8DFC-D93EE5DE1299}" destId="{4C4E2648-F763-4831-9507-366D9F98CAB8}"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454A42C6-D577-407A-B676-68D9123F7835}" type="presOf" srcId="{8B11413A-A39D-48C0-984F-ECABA70A5067}" destId="{0FE7586A-E0FC-4D42-8C55-A31D2EC2E4D6}"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9C0DF200-96F9-4D06-878F-261C7BE5780B}" srcId="{9913E13F-F5D1-4AB9-9C3E-6922DA30100F}" destId="{AFB19399-1F4C-4153-8F69-D7E391AF8EED}" srcOrd="0" destOrd="0" parTransId="{B74B925C-5EA5-4DBC-802C-4CCC328AE0A3}" sibTransId="{54DC3CCD-AC43-47B6-BF73-ADDD32497CBF}"/>
    <dgm:cxn modelId="{0DA13AAC-803C-4775-BB2E-8096D32B2E1E}" type="presOf" srcId="{8D948412-9783-4022-82B2-587E101905ED}" destId="{AD07910F-C053-4F49-9E25-5FFC6C1BA73B}"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E6230200-78C1-4147-9066-88BD5571B979}" type="presParOf" srcId="{6AA46DBA-49E0-44B0-AE30-BA17A235D9D6}" destId="{34E1E21A-2613-493B-8263-77F7228D4301}" srcOrd="4" destOrd="0" presId="urn:microsoft.com/office/officeart/2008/layout/LinedList"/>
    <dgm:cxn modelId="{A33E6196-BA4A-4CA8-A532-514B9A2333EB}" type="presParOf" srcId="{6AA46DBA-49E0-44B0-AE30-BA17A235D9D6}" destId="{24974A66-EC0E-4B87-8DBC-6BAF19D66150}" srcOrd="5"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Summary</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accent1"/>
            </a:solidFill>
            <a:latin typeface="+mj-lt"/>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On day of surgery, C was examined by the anesthesia team. They began examining the R side of her face. C explained they had the wrong side and surgery was to be performed on her L side. </a:t>
          </a:r>
        </a:p>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The Anesthesiologist noted the chart as to his conversation with the patient. </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6"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6" custScaleX="107904" custScaleY="34122" custLinFactNeighborX="-316" custLinFactNeighborY="-452"/>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3" custLinFactY="200000" custLinFactNeighborX="2241" custLinFactNeighborY="22414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1463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6" custScaleX="82140" custScaleY="75117" custLinFactNeighborX="1154" custLinFactNeighborY="60277"/>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6" custScaleX="107265" custScaleY="75128" custLinFactNeighborX="-379" custLinFactNeighborY="-43004"/>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3" custLinFactY="1200000" custLinFactNeighborX="260" custLinFactNeighborY="1228198"/>
      <dgm:spPr/>
      <dgm:t>
        <a:bodyPr/>
        <a:lstStyle/>
        <a:p>
          <a:endParaRPr lang="en-US"/>
        </a:p>
      </dgm:t>
    </dgm:pt>
    <dgm:pt modelId="{92D138F1-8B56-4159-B906-19F28E9DE209}" type="pres">
      <dgm:prSet presAssocID="{852EC5D7-2988-497B-8DFC-D93EE5DE1299}" presName="vertSpace2b" presStyleCnt="0"/>
      <dgm:spPr/>
    </dgm:pt>
    <dgm:pt modelId="{34E1E21A-2613-493B-8263-77F7228D4301}" type="pres">
      <dgm:prSet presAssocID="{B86EE3D4-4775-4A9F-833F-765F6096EC9A}" presName="thickLine" presStyleLbl="alignNode1" presStyleIdx="2" presStyleCnt="3" custLinFactNeighborY="76796"/>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4" presStyleCnt="6"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5" presStyleCnt="6"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2" presStyleCnt="3" custLinFactY="-162036" custLinFactNeighborY="-200000"/>
      <dgm:spPr/>
    </dgm:pt>
    <dgm:pt modelId="{BC54831F-D0F7-4893-942C-3146BA8B55B9}" type="pres">
      <dgm:prSet presAssocID="{8D948412-9783-4022-82B2-587E101905ED}" presName="vertSpace2b" presStyleCnt="0"/>
      <dgm:spPr/>
    </dgm:pt>
  </dgm:ptLst>
  <dgm:cxnLst>
    <dgm:cxn modelId="{04DD017A-B020-40AC-9B2A-6E682DD56A6B}" type="presOf" srcId="{FEA87826-C15B-43C1-909B-511BC9B926D0}" destId="{6AA46DBA-49E0-44B0-AE30-BA17A235D9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401B2DB-47D5-413A-96A8-29E99941E1F9}" srcId="{FEA87826-C15B-43C1-909B-511BC9B926D0}" destId="{B86EE3D4-4775-4A9F-833F-765F6096EC9A}" srcOrd="2" destOrd="0" parTransId="{C737A28C-CEE8-449B-816E-C8BDFC6B3358}" sibTransId="{DD12A532-FC1C-4E79-9FC8-5C51B1E2AD09}"/>
    <dgm:cxn modelId="{113E6259-76BA-4CE5-88A9-A4E31B62E9E1}" type="presOf" srcId="{852EC5D7-2988-497B-8DFC-D93EE5DE1299}" destId="{4C4E2648-F763-4831-9507-366D9F98CAB8}"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454A42C6-D577-407A-B676-68D9123F7835}" type="presOf" srcId="{8B11413A-A39D-48C0-984F-ECABA70A5067}" destId="{0FE7586A-E0FC-4D42-8C55-A31D2EC2E4D6}"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9C0DF200-96F9-4D06-878F-261C7BE5780B}" srcId="{9913E13F-F5D1-4AB9-9C3E-6922DA30100F}" destId="{AFB19399-1F4C-4153-8F69-D7E391AF8EED}" srcOrd="0" destOrd="0" parTransId="{B74B925C-5EA5-4DBC-802C-4CCC328AE0A3}" sibTransId="{54DC3CCD-AC43-47B6-BF73-ADDD32497CBF}"/>
    <dgm:cxn modelId="{0DA13AAC-803C-4775-BB2E-8096D32B2E1E}" type="presOf" srcId="{8D948412-9783-4022-82B2-587E101905ED}" destId="{AD07910F-C053-4F49-9E25-5FFC6C1BA73B}"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E6230200-78C1-4147-9066-88BD5571B979}" type="presParOf" srcId="{6AA46DBA-49E0-44B0-AE30-BA17A235D9D6}" destId="{34E1E21A-2613-493B-8263-77F7228D4301}" srcOrd="4" destOrd="0" presId="urn:microsoft.com/office/officeart/2008/layout/LinedList"/>
    <dgm:cxn modelId="{A33E6196-BA4A-4CA8-A532-514B9A2333EB}" type="presParOf" srcId="{6AA46DBA-49E0-44B0-AE30-BA17A235D9D6}" destId="{24974A66-EC0E-4B87-8DBC-6BAF19D66150}" srcOrd="5"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8B11413A-A39D-48C0-984F-ECABA70A5067}">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accent1"/>
            </a:solidFill>
            <a:latin typeface="+mj-lt"/>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2400" i="0" dirty="0" smtClean="0">
              <a:solidFill>
                <a:schemeClr val="tx2"/>
              </a:solidFill>
              <a:latin typeface="Arial" panose="020B0604020202020204" pitchFamily="34" charset="0"/>
              <a:ea typeface="Tahoma" panose="020B0604030504040204" pitchFamily="34" charset="0"/>
              <a:cs typeface="Arial" panose="020B0604020202020204" pitchFamily="34" charset="0"/>
            </a:rPr>
            <a:t>He then does this:</a:t>
          </a:r>
        </a:p>
        <a:p>
          <a:pPr algn="just"/>
          <a:endPar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endPar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endPar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endPar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endPar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47C2D978-3083-4729-A88F-53132DFC6819}" type="pres">
      <dgm:prSet presAssocID="{AFB19399-1F4C-4153-8F69-D7E391AF8EED}" presName="thickLine" presStyleLbl="alignNode1" presStyleIdx="0" presStyleCnt="3"/>
      <dgm:spPr/>
    </dgm:pt>
    <dgm:pt modelId="{5DE2D904-712C-4B45-9E2B-FF0E84148960}" type="pres">
      <dgm:prSet presAssocID="{AFB19399-1F4C-4153-8F69-D7E391AF8EED}" presName="horz1" presStyleCnt="0"/>
      <dgm:spPr/>
    </dgm:pt>
    <dgm:pt modelId="{37FF0455-3895-4BE0-A7FB-CE4F180FC7D1}" type="pres">
      <dgm:prSet presAssocID="{AFB19399-1F4C-4153-8F69-D7E391AF8EED}" presName="tx1" presStyleLbl="revTx" presStyleIdx="0" presStyleCnt="5"/>
      <dgm:spPr/>
      <dgm:t>
        <a:bodyPr/>
        <a:lstStyle/>
        <a:p>
          <a:endParaRPr lang="en-US"/>
        </a:p>
      </dgm:t>
    </dgm:pt>
    <dgm:pt modelId="{C1B7F0AF-6A1A-4DE7-8BC5-B73297A9D607}" type="pres">
      <dgm:prSet presAssocID="{AFB19399-1F4C-4153-8F69-D7E391AF8EED}" presName="vert1" presStyleCnt="0"/>
      <dgm:spPr/>
    </dgm:pt>
    <dgm:pt modelId="{9C5756C3-0897-4717-8A6B-ACA9B24B2EE5}" type="pres">
      <dgm:prSet presAssocID="{8B11413A-A39D-48C0-984F-ECABA70A5067}" presName="thickLine" presStyleLbl="alignNode1" presStyleIdx="1" presStyleCnt="3" custLinFactNeighborY="14634"/>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1" presStyleCnt="5" custScaleX="82140" custScaleY="75117" custLinFactNeighborX="1154" custLinFactNeighborY="60277"/>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2" presStyleCnt="5" custScaleX="153105" custScaleY="186938" custLinFactY="-100000" custLinFactNeighborX="15637" custLinFactNeighborY="-102463"/>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0" presStyleCnt="2" custLinFactY="1200000" custLinFactNeighborX="260" custLinFactNeighborY="1228198"/>
      <dgm:spPr/>
      <dgm:t>
        <a:bodyPr/>
        <a:lstStyle/>
        <a:p>
          <a:endParaRPr lang="en-US"/>
        </a:p>
      </dgm:t>
    </dgm:pt>
    <dgm:pt modelId="{92D138F1-8B56-4159-B906-19F28E9DE209}" type="pres">
      <dgm:prSet presAssocID="{852EC5D7-2988-497B-8DFC-D93EE5DE1299}" presName="vertSpace2b" presStyleCnt="0"/>
      <dgm:spPr/>
    </dgm:pt>
    <dgm:pt modelId="{34E1E21A-2613-493B-8263-77F7228D4301}" type="pres">
      <dgm:prSet presAssocID="{B86EE3D4-4775-4A9F-833F-765F6096EC9A}" presName="thickLine" presStyleLbl="alignNode1" presStyleIdx="2" presStyleCnt="3" custLinFactNeighborY="76796"/>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3" presStyleCnt="5"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4" presStyleCnt="5"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1" presStyleCnt="2" custLinFactY="-162036" custLinFactNeighborY="-200000"/>
      <dgm:spPr/>
    </dgm:pt>
    <dgm:pt modelId="{BC54831F-D0F7-4893-942C-3146BA8B55B9}" type="pres">
      <dgm:prSet presAssocID="{8D948412-9783-4022-82B2-587E101905ED}" presName="vertSpace2b" presStyleCnt="0"/>
      <dgm:spPr/>
    </dgm:pt>
  </dgm:ptLst>
  <dgm:cxnLst>
    <dgm:cxn modelId="{0DA13AAC-803C-4775-BB2E-8096D32B2E1E}" type="presOf" srcId="{8D948412-9783-4022-82B2-587E101905ED}" destId="{AD07910F-C053-4F49-9E25-5FFC6C1BA73B}" srcOrd="0" destOrd="0" presId="urn:microsoft.com/office/officeart/2008/layout/LinedList"/>
    <dgm:cxn modelId="{A401B2DB-47D5-413A-96A8-29E99941E1F9}" srcId="{FEA87826-C15B-43C1-909B-511BC9B926D0}" destId="{B86EE3D4-4775-4A9F-833F-765F6096EC9A}" srcOrd="2" destOrd="0" parTransId="{C737A28C-CEE8-449B-816E-C8BDFC6B3358}" sibTransId="{DD12A532-FC1C-4E79-9FC8-5C51B1E2AD09}"/>
    <dgm:cxn modelId="{9B387E3C-4B95-46E9-8DCD-B1DBB6642EB7}" srcId="{FEA87826-C15B-43C1-909B-511BC9B926D0}" destId="{8B11413A-A39D-48C0-984F-ECABA70A5067}" srcOrd="1" destOrd="0" parTransId="{44C6EDFD-E4BE-4E19-8EFC-9D39B25663B4}" sibTransId="{7D4A822B-8E1D-4B77-BDCC-25EE33A9BA38}"/>
    <dgm:cxn modelId="{E0821B5C-DFF3-41BF-8D93-33B90591198A}" srcId="{8B11413A-A39D-48C0-984F-ECABA70A5067}" destId="{852EC5D7-2988-497B-8DFC-D93EE5DE1299}" srcOrd="0" destOrd="0" parTransId="{5F504ED3-BB1F-47F1-B2A7-D352A50A3EC0}" sibTransId="{4D68A075-A70E-4533-81D3-74334EB5B4B6}"/>
    <dgm:cxn modelId="{454A42C6-D577-407A-B676-68D9123F7835}" type="presOf" srcId="{8B11413A-A39D-48C0-984F-ECABA70A5067}" destId="{0FE7586A-E0FC-4D42-8C55-A31D2EC2E4D6}"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9C0DF200-96F9-4D06-878F-261C7BE5780B}" srcId="{FEA87826-C15B-43C1-909B-511BC9B926D0}" destId="{AFB19399-1F4C-4153-8F69-D7E391AF8EED}" srcOrd="0" destOrd="0" parTransId="{B74B925C-5EA5-4DBC-802C-4CCC328AE0A3}" sibTransId="{54DC3CCD-AC43-47B6-BF73-ADDD32497CBF}"/>
    <dgm:cxn modelId="{4DBA56A3-8BD0-4353-BB6D-F3DC00617055}" srcId="{B86EE3D4-4775-4A9F-833F-765F6096EC9A}" destId="{8D948412-9783-4022-82B2-587E101905ED}" srcOrd="0" destOrd="0" parTransId="{10D69B41-3642-4C83-AA8A-59F8F119D4F8}" sibTransId="{C12A109B-18F4-46A4-BE0F-38A5B294DAD7}"/>
    <dgm:cxn modelId="{B135D685-5AF7-4526-A4E1-3FC8BD232D8C}" type="presOf" srcId="{AFB19399-1F4C-4153-8F69-D7E391AF8EED}" destId="{37FF0455-3895-4BE0-A7FB-CE4F180FC7D1}"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113E6259-76BA-4CE5-88A9-A4E31B62E9E1}" type="presOf" srcId="{852EC5D7-2988-497B-8DFC-D93EE5DE1299}" destId="{4C4E2648-F763-4831-9507-366D9F98CAB8}" srcOrd="0" destOrd="0" presId="urn:microsoft.com/office/officeart/2008/layout/LinedList"/>
    <dgm:cxn modelId="{608DA6B7-A96E-4EEC-8B33-F34918AA4B6A}" type="presParOf" srcId="{6AA46DBA-49E0-44B0-AE30-BA17A235D9D6}" destId="{47C2D978-3083-4729-A88F-53132DFC6819}" srcOrd="0" destOrd="0" presId="urn:microsoft.com/office/officeart/2008/layout/LinedList"/>
    <dgm:cxn modelId="{271DD310-452E-4E00-84E0-E6926A50325F}" type="presParOf" srcId="{6AA46DBA-49E0-44B0-AE30-BA17A235D9D6}" destId="{5DE2D904-712C-4B45-9E2B-FF0E84148960}" srcOrd="1" destOrd="0" presId="urn:microsoft.com/office/officeart/2008/layout/LinedList"/>
    <dgm:cxn modelId="{122DB1A7-20C9-4965-AB3B-4B5F74D1FF3B}" type="presParOf" srcId="{5DE2D904-712C-4B45-9E2B-FF0E84148960}" destId="{37FF0455-3895-4BE0-A7FB-CE4F180FC7D1}" srcOrd="0" destOrd="0" presId="urn:microsoft.com/office/officeart/2008/layout/LinedList"/>
    <dgm:cxn modelId="{E6C7C5DB-F979-4CF4-971D-D888FAE9B1C6}" type="presParOf" srcId="{5DE2D904-712C-4B45-9E2B-FF0E84148960}" destId="{C1B7F0AF-6A1A-4DE7-8BC5-B73297A9D607}" srcOrd="1"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E6230200-78C1-4147-9066-88BD5571B979}" type="presParOf" srcId="{6AA46DBA-49E0-44B0-AE30-BA17A235D9D6}" destId="{34E1E21A-2613-493B-8263-77F7228D4301}" srcOrd="4" destOrd="0" presId="urn:microsoft.com/office/officeart/2008/layout/LinedList"/>
    <dgm:cxn modelId="{A33E6196-BA4A-4CA8-A532-514B9A2333EB}" type="presParOf" srcId="{6AA46DBA-49E0-44B0-AE30-BA17A235D9D6}" destId="{24974A66-EC0E-4B87-8DBC-6BAF19D66150}" srcOrd="5"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EE78B0F-C07D-49E2-911E-95F1801FE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0AB865B-6AAF-4B8B-A9A6-9ACF3B2438E9}">
      <dgm:prSet phldrT="[Text]" custT="1"/>
      <dgm:spPr/>
      <dgm:t>
        <a:bodyPr/>
        <a:lstStyle/>
        <a:p>
          <a:r>
            <a:rPr lang="en-US" sz="3000" dirty="0" smtClean="0"/>
            <a:t>In Summary</a:t>
          </a:r>
          <a:endParaRPr lang="en-US" sz="3000" dirty="0"/>
        </a:p>
      </dgm:t>
    </dgm:pt>
    <dgm:pt modelId="{A7BE3B71-3187-4E24-8A1B-ECECDB86CE3D}" type="parTrans" cxnId="{A263E406-09DC-49F3-83D2-7B4758993A09}">
      <dgm:prSet/>
      <dgm:spPr/>
      <dgm:t>
        <a:bodyPr/>
        <a:lstStyle/>
        <a:p>
          <a:endParaRPr lang="en-US" sz="2400"/>
        </a:p>
      </dgm:t>
    </dgm:pt>
    <dgm:pt modelId="{0116BA1D-D6DE-4D2F-8849-DCAA9B00FF6F}" type="sibTrans" cxnId="{A263E406-09DC-49F3-83D2-7B4758993A09}">
      <dgm:prSet/>
      <dgm:spPr/>
      <dgm:t>
        <a:bodyPr/>
        <a:lstStyle/>
        <a:p>
          <a:endParaRPr lang="en-US" sz="2400"/>
        </a:p>
      </dgm:t>
    </dgm:pt>
    <dgm:pt modelId="{F1DEEE62-FDF7-4465-8DFD-12ECAD17359C}">
      <dgm:prSet custT="1"/>
      <dgm:spPr/>
      <dgm:t>
        <a:bodyPr/>
        <a:lstStyle/>
        <a:p>
          <a:pPr>
            <a:lnSpc>
              <a:spcPct val="100000"/>
            </a:lnSpc>
            <a:spcAft>
              <a:spcPts val="1200"/>
            </a:spcAft>
          </a:pPr>
          <a:endParaRPr lang="en-US" sz="2400" dirty="0">
            <a:solidFill>
              <a:schemeClr val="tx2"/>
            </a:solidFill>
          </a:endParaRPr>
        </a:p>
      </dgm:t>
    </dgm:pt>
    <dgm:pt modelId="{D58AFEB4-CD26-4E45-8212-8BABC2552F32}" type="parTrans" cxnId="{DD6EBC45-6B69-4A31-8700-74A4867CE9AC}">
      <dgm:prSet/>
      <dgm:spPr/>
      <dgm:t>
        <a:bodyPr/>
        <a:lstStyle/>
        <a:p>
          <a:endParaRPr lang="en-US"/>
        </a:p>
      </dgm:t>
    </dgm:pt>
    <dgm:pt modelId="{3DA44AAA-5BFF-4D97-8728-50D3DF578A67}" type="sibTrans" cxnId="{DD6EBC45-6B69-4A31-8700-74A4867CE9AC}">
      <dgm:prSet/>
      <dgm:spPr/>
      <dgm:t>
        <a:bodyPr/>
        <a:lstStyle/>
        <a:p>
          <a:endParaRPr lang="en-US"/>
        </a:p>
      </dgm:t>
    </dgm:pt>
    <dgm:pt modelId="{BF7A3683-CCBA-41BB-8586-8D638FCBE1B1}">
      <dgm:prSet custT="1"/>
      <dgm:spPr/>
      <dgm:t>
        <a:bodyPr/>
        <a:lstStyle/>
        <a:p>
          <a:pPr>
            <a:lnSpc>
              <a:spcPct val="100000"/>
            </a:lnSpc>
            <a:spcAft>
              <a:spcPts val="1200"/>
            </a:spcAft>
          </a:pPr>
          <a:endParaRPr lang="en-US" sz="1800" dirty="0">
            <a:solidFill>
              <a:schemeClr val="tx2"/>
            </a:solidFill>
            <a:latin typeface="+mj-lt"/>
          </a:endParaRPr>
        </a:p>
      </dgm:t>
    </dgm:pt>
    <dgm:pt modelId="{541E169B-6AB3-43AD-9576-774B3CAFFB4C}" type="parTrans" cxnId="{4A4005C7-D151-4261-9E00-4F5A8ABECB62}">
      <dgm:prSet/>
      <dgm:spPr/>
      <dgm:t>
        <a:bodyPr/>
        <a:lstStyle/>
        <a:p>
          <a:endParaRPr lang="en-US"/>
        </a:p>
      </dgm:t>
    </dgm:pt>
    <dgm:pt modelId="{C9C0CA69-190C-4BBE-B422-F5B998FBADE8}" type="sibTrans" cxnId="{4A4005C7-D151-4261-9E00-4F5A8ABECB62}">
      <dgm:prSet/>
      <dgm:spPr/>
      <dgm:t>
        <a:bodyPr/>
        <a:lstStyle/>
        <a:p>
          <a:endParaRPr lang="en-US"/>
        </a:p>
      </dgm:t>
    </dgm:pt>
    <dgm:pt modelId="{CD4626D5-8CC5-41C9-9063-B845BA922E28}">
      <dgm:prSet custT="1"/>
      <dgm:spPr/>
      <dgm:t>
        <a:bodyPr/>
        <a:lstStyle/>
        <a:p>
          <a:pPr>
            <a:lnSpc>
              <a:spcPct val="100000"/>
            </a:lnSpc>
            <a:spcAft>
              <a:spcPts val="1200"/>
            </a:spcAft>
          </a:pPr>
          <a:r>
            <a:rPr lang="en-US" altLang="en-US" sz="2500" dirty="0" smtClean="0">
              <a:solidFill>
                <a:schemeClr val="tx2"/>
              </a:solidFill>
              <a:latin typeface="+mj-lt"/>
              <a:ea typeface="Trebuchet MS" panose="020B0603020202020204" pitchFamily="34" charset="0"/>
              <a:cs typeface="Trebuchet MS" panose="020B0603020202020204" pitchFamily="34" charset="0"/>
            </a:rPr>
            <a:t>The performance of dental procedures on the wrong teeth most commonly occurs due to miscommunication, clerical errors, and dentist oversight. </a:t>
          </a:r>
          <a:endParaRPr lang="en-US" sz="2500" dirty="0">
            <a:solidFill>
              <a:schemeClr val="tx2"/>
            </a:solidFill>
            <a:latin typeface="+mj-lt"/>
          </a:endParaRPr>
        </a:p>
      </dgm:t>
    </dgm:pt>
    <dgm:pt modelId="{8097E680-0197-4FFD-A780-A45E1F9EE998}" type="parTrans" cxnId="{74A66DD8-1429-469D-BC9D-0A6F8A7C5C60}">
      <dgm:prSet/>
      <dgm:spPr/>
      <dgm:t>
        <a:bodyPr/>
        <a:lstStyle/>
        <a:p>
          <a:endParaRPr lang="en-US"/>
        </a:p>
      </dgm:t>
    </dgm:pt>
    <dgm:pt modelId="{518BB191-AD4B-4916-AA4D-8650B4D6006D}" type="sibTrans" cxnId="{74A66DD8-1429-469D-BC9D-0A6F8A7C5C60}">
      <dgm:prSet/>
      <dgm:spPr/>
      <dgm:t>
        <a:bodyPr/>
        <a:lstStyle/>
        <a:p>
          <a:endParaRPr lang="en-US"/>
        </a:p>
      </dgm:t>
    </dgm:pt>
    <dgm:pt modelId="{C0C93E54-74B7-44B7-A15C-B44F04A8F513}">
      <dgm:prSet custT="1"/>
      <dgm:spPr/>
      <dgm:t>
        <a:bodyPr/>
        <a:lstStyle/>
        <a:p>
          <a:pPr>
            <a:lnSpc>
              <a:spcPct val="100000"/>
            </a:lnSpc>
            <a:spcAft>
              <a:spcPts val="1200"/>
            </a:spcAft>
          </a:pPr>
          <a:endParaRPr lang="en-US" sz="2500" dirty="0">
            <a:solidFill>
              <a:schemeClr val="accent1"/>
            </a:solidFill>
            <a:latin typeface="+mj-lt"/>
          </a:endParaRPr>
        </a:p>
      </dgm:t>
    </dgm:pt>
    <dgm:pt modelId="{FFE3037D-7869-416E-9013-DF9D18988C39}" type="parTrans" cxnId="{A7682372-DDBF-468C-9309-1C6796C82572}">
      <dgm:prSet/>
      <dgm:spPr/>
      <dgm:t>
        <a:bodyPr/>
        <a:lstStyle/>
        <a:p>
          <a:endParaRPr lang="en-US"/>
        </a:p>
      </dgm:t>
    </dgm:pt>
    <dgm:pt modelId="{706A2A77-93AF-4DE3-BF21-F4966CCA6EBF}" type="sibTrans" cxnId="{A7682372-DDBF-468C-9309-1C6796C82572}">
      <dgm:prSet/>
      <dgm:spPr/>
      <dgm:t>
        <a:bodyPr/>
        <a:lstStyle/>
        <a:p>
          <a:endParaRPr lang="en-US"/>
        </a:p>
      </dgm:t>
    </dgm:pt>
    <dgm:pt modelId="{9376AD5C-0234-4C97-A3B9-796CCD422295}">
      <dgm:prSet custT="1"/>
      <dgm:spPr/>
      <dgm:t>
        <a:bodyPr/>
        <a:lstStyle/>
        <a:p>
          <a:pPr>
            <a:lnSpc>
              <a:spcPct val="100000"/>
            </a:lnSpc>
            <a:spcAft>
              <a:spcPts val="1200"/>
            </a:spcAft>
          </a:pPr>
          <a:r>
            <a:rPr lang="en-US" sz="2500" dirty="0" smtClean="0">
              <a:solidFill>
                <a:schemeClr val="tx2"/>
              </a:solidFill>
              <a:latin typeface="+mj-lt"/>
            </a:rPr>
            <a:t>In many cases, dentists fail to recognize they have rendered treatment on the incorrect tooth, which can further anger patients, and increase litigiousness.</a:t>
          </a:r>
          <a:endParaRPr lang="en-US" sz="2500" dirty="0">
            <a:solidFill>
              <a:schemeClr val="tx2"/>
            </a:solidFill>
            <a:latin typeface="+mj-lt"/>
          </a:endParaRPr>
        </a:p>
      </dgm:t>
    </dgm:pt>
    <dgm:pt modelId="{AC138C44-971C-413E-8F7A-9CB18694BE24}" type="parTrans" cxnId="{21F42932-352C-4368-9C92-C2EAF5C3D0C3}">
      <dgm:prSet/>
      <dgm:spPr/>
      <dgm:t>
        <a:bodyPr/>
        <a:lstStyle/>
        <a:p>
          <a:endParaRPr lang="en-US"/>
        </a:p>
      </dgm:t>
    </dgm:pt>
    <dgm:pt modelId="{28C5DB24-BD95-48F0-B268-33764FE4C282}" type="sibTrans" cxnId="{21F42932-352C-4368-9C92-C2EAF5C3D0C3}">
      <dgm:prSet/>
      <dgm:spPr/>
      <dgm:t>
        <a:bodyPr/>
        <a:lstStyle/>
        <a:p>
          <a:endParaRPr lang="en-US"/>
        </a:p>
      </dgm:t>
    </dgm:pt>
    <dgm:pt modelId="{789E564A-7054-4E85-9CBD-2B6E74F34559}">
      <dgm:prSet custT="1"/>
      <dgm:spPr/>
      <dgm:t>
        <a:bodyPr/>
        <a:lstStyle/>
        <a:p>
          <a:pPr>
            <a:lnSpc>
              <a:spcPct val="100000"/>
            </a:lnSpc>
            <a:spcAft>
              <a:spcPts val="1200"/>
            </a:spcAft>
          </a:pPr>
          <a:r>
            <a:rPr lang="en-US" sz="2500" dirty="0" smtClean="0">
              <a:solidFill>
                <a:schemeClr val="tx2"/>
              </a:solidFill>
              <a:latin typeface="+mj-lt"/>
            </a:rPr>
            <a:t>Preventative measures, including </a:t>
          </a:r>
          <a:r>
            <a:rPr lang="en-US" sz="2500" b="1" dirty="0" smtClean="0">
              <a:solidFill>
                <a:schemeClr val="tx2"/>
              </a:solidFill>
              <a:latin typeface="+mj-lt"/>
            </a:rPr>
            <a:t>pre-procedure time-outs</a:t>
          </a:r>
          <a:r>
            <a:rPr lang="en-US" sz="2500" b="0" dirty="0" smtClean="0">
              <a:solidFill>
                <a:schemeClr val="tx2"/>
              </a:solidFill>
              <a:latin typeface="+mj-lt"/>
            </a:rPr>
            <a:t> can reduce the potential for performing work on the wrong tooth. </a:t>
          </a:r>
          <a:endParaRPr lang="en-US" sz="2500" dirty="0">
            <a:solidFill>
              <a:schemeClr val="tx2"/>
            </a:solidFill>
            <a:latin typeface="+mj-lt"/>
          </a:endParaRPr>
        </a:p>
      </dgm:t>
    </dgm:pt>
    <dgm:pt modelId="{3BC42436-DF0D-4A9A-A6FC-4D63BB186FD9}" type="parTrans" cxnId="{D5F49DD8-E2F1-48BE-9C40-9C64A1447D4F}">
      <dgm:prSet/>
      <dgm:spPr/>
      <dgm:t>
        <a:bodyPr/>
        <a:lstStyle/>
        <a:p>
          <a:endParaRPr lang="en-US"/>
        </a:p>
      </dgm:t>
    </dgm:pt>
    <dgm:pt modelId="{A9D509A3-356E-4C5A-B62D-DAA21EBCBA52}" type="sibTrans" cxnId="{D5F49DD8-E2F1-48BE-9C40-9C64A1447D4F}">
      <dgm:prSet/>
      <dgm:spPr/>
      <dgm:t>
        <a:bodyPr/>
        <a:lstStyle/>
        <a:p>
          <a:endParaRPr lang="en-US"/>
        </a:p>
      </dgm:t>
    </dgm:pt>
    <dgm:pt modelId="{01586762-0386-47F9-8300-9B2EA124E66E}">
      <dgm:prSet custT="1"/>
      <dgm:spPr/>
      <dgm:t>
        <a:bodyPr/>
        <a:lstStyle/>
        <a:p>
          <a:pPr>
            <a:lnSpc>
              <a:spcPct val="100000"/>
            </a:lnSpc>
            <a:spcAft>
              <a:spcPts val="1200"/>
            </a:spcAft>
          </a:pPr>
          <a:endParaRPr lang="en-US" sz="2500" dirty="0">
            <a:solidFill>
              <a:schemeClr val="accent1"/>
            </a:solidFill>
            <a:latin typeface="+mj-lt"/>
          </a:endParaRPr>
        </a:p>
      </dgm:t>
    </dgm:pt>
    <dgm:pt modelId="{614652D2-85F4-4296-87A9-8A406AF59A4A}" type="parTrans" cxnId="{F695F281-A07D-4AA1-A588-D55103379023}">
      <dgm:prSet/>
      <dgm:spPr/>
      <dgm:t>
        <a:bodyPr/>
        <a:lstStyle/>
        <a:p>
          <a:endParaRPr lang="en-US"/>
        </a:p>
      </dgm:t>
    </dgm:pt>
    <dgm:pt modelId="{9DA11FBB-824D-4652-9590-4593341F624B}" type="sibTrans" cxnId="{F695F281-A07D-4AA1-A588-D55103379023}">
      <dgm:prSet/>
      <dgm:spPr/>
      <dgm:t>
        <a:bodyPr/>
        <a:lstStyle/>
        <a:p>
          <a:endParaRPr lang="en-US"/>
        </a:p>
      </dgm:t>
    </dgm:pt>
    <dgm:pt modelId="{884D55FE-901D-4ADE-9EB2-B8C8A287648C}">
      <dgm:prSet custT="1"/>
      <dgm:spPr/>
      <dgm:t>
        <a:bodyPr/>
        <a:lstStyle/>
        <a:p>
          <a:pPr>
            <a:lnSpc>
              <a:spcPct val="100000"/>
            </a:lnSpc>
            <a:spcAft>
              <a:spcPts val="1200"/>
            </a:spcAft>
          </a:pPr>
          <a:r>
            <a:rPr lang="en-US" sz="2500" dirty="0" smtClean="0">
              <a:solidFill>
                <a:schemeClr val="tx2"/>
              </a:solidFill>
              <a:latin typeface="+mj-lt"/>
            </a:rPr>
            <a:t>Independent evaluation of symptoms and patient complaints as well as informed consent confirmation from the patient can </a:t>
          </a:r>
          <a:r>
            <a:rPr lang="en-US" sz="2500" b="1" dirty="0" smtClean="0">
              <a:solidFill>
                <a:schemeClr val="tx2"/>
              </a:solidFill>
              <a:latin typeface="+mj-lt"/>
            </a:rPr>
            <a:t>serve as a defense</a:t>
          </a:r>
          <a:r>
            <a:rPr lang="en-US" sz="2500" b="0" dirty="0" smtClean="0">
              <a:solidFill>
                <a:schemeClr val="tx2"/>
              </a:solidFill>
              <a:latin typeface="+mj-lt"/>
            </a:rPr>
            <a:t> in a wrong-tooth case.</a:t>
          </a:r>
          <a:endParaRPr lang="en-US" sz="2500" dirty="0">
            <a:solidFill>
              <a:schemeClr val="tx2"/>
            </a:solidFill>
            <a:latin typeface="+mj-lt"/>
          </a:endParaRPr>
        </a:p>
      </dgm:t>
    </dgm:pt>
    <dgm:pt modelId="{36154A32-0663-4D12-8B69-2F4A98980D40}" type="parTrans" cxnId="{7C2A0DEF-2012-4563-9B28-357A835AFFAE}">
      <dgm:prSet/>
      <dgm:spPr/>
      <dgm:t>
        <a:bodyPr/>
        <a:lstStyle/>
        <a:p>
          <a:endParaRPr lang="en-US"/>
        </a:p>
      </dgm:t>
    </dgm:pt>
    <dgm:pt modelId="{69BA620A-F58F-46D3-9671-343EFBA9295C}" type="sibTrans" cxnId="{7C2A0DEF-2012-4563-9B28-357A835AFFAE}">
      <dgm:prSet/>
      <dgm:spPr/>
      <dgm:t>
        <a:bodyPr/>
        <a:lstStyle/>
        <a:p>
          <a:endParaRPr lang="en-US"/>
        </a:p>
      </dgm:t>
    </dgm:pt>
    <dgm:pt modelId="{6CC88AD4-A6A8-4A04-983F-ECFC5DE4426C}">
      <dgm:prSet custT="1"/>
      <dgm:spPr/>
      <dgm:t>
        <a:bodyPr/>
        <a:lstStyle/>
        <a:p>
          <a:pPr>
            <a:lnSpc>
              <a:spcPct val="100000"/>
            </a:lnSpc>
            <a:spcAft>
              <a:spcPts val="1200"/>
            </a:spcAft>
          </a:pPr>
          <a:endParaRPr lang="en-US" sz="2500" dirty="0">
            <a:solidFill>
              <a:schemeClr val="tx2"/>
            </a:solidFill>
            <a:latin typeface="+mj-lt"/>
          </a:endParaRPr>
        </a:p>
      </dgm:t>
    </dgm:pt>
    <dgm:pt modelId="{412457F4-B1AF-470A-92F9-69BC13949FBA}" type="parTrans" cxnId="{5B7B3D4C-D821-4838-8FEC-4955EC608920}">
      <dgm:prSet/>
      <dgm:spPr/>
      <dgm:t>
        <a:bodyPr/>
        <a:lstStyle/>
        <a:p>
          <a:endParaRPr lang="en-US"/>
        </a:p>
      </dgm:t>
    </dgm:pt>
    <dgm:pt modelId="{88096133-AC9F-4F54-847F-A07E6C06CF8D}" type="sibTrans" cxnId="{5B7B3D4C-D821-4838-8FEC-4955EC608920}">
      <dgm:prSet/>
      <dgm:spPr/>
      <dgm:t>
        <a:bodyPr/>
        <a:lstStyle/>
        <a:p>
          <a:endParaRPr lang="en-US"/>
        </a:p>
      </dgm:t>
    </dgm:pt>
    <dgm:pt modelId="{B1705B4E-3B32-4854-BED6-DD034CCD61A3}" type="pres">
      <dgm:prSet presAssocID="{5EE78B0F-C07D-49E2-911E-95F1801FE48A}" presName="linear" presStyleCnt="0">
        <dgm:presLayoutVars>
          <dgm:animLvl val="lvl"/>
          <dgm:resizeHandles val="exact"/>
        </dgm:presLayoutVars>
      </dgm:prSet>
      <dgm:spPr/>
      <dgm:t>
        <a:bodyPr/>
        <a:lstStyle/>
        <a:p>
          <a:endParaRPr lang="en-US"/>
        </a:p>
      </dgm:t>
    </dgm:pt>
    <dgm:pt modelId="{C0672512-A2E2-43CB-B96C-CF4C96891164}" type="pres">
      <dgm:prSet presAssocID="{10AB865B-6AAF-4B8B-A9A6-9ACF3B2438E9}" presName="parentText" presStyleLbl="node1" presStyleIdx="0" presStyleCnt="1" custLinFactNeighborY="-6399">
        <dgm:presLayoutVars>
          <dgm:chMax val="0"/>
          <dgm:bulletEnabled val="1"/>
        </dgm:presLayoutVars>
      </dgm:prSet>
      <dgm:spPr/>
      <dgm:t>
        <a:bodyPr/>
        <a:lstStyle/>
        <a:p>
          <a:endParaRPr lang="en-US"/>
        </a:p>
      </dgm:t>
    </dgm:pt>
    <dgm:pt modelId="{BC10CFDC-D045-4AC3-A2C3-3A5C7F5B3250}" type="pres">
      <dgm:prSet presAssocID="{10AB865B-6AAF-4B8B-A9A6-9ACF3B2438E9}" presName="childText" presStyleLbl="revTx" presStyleIdx="0" presStyleCnt="1" custScaleX="100000" custScaleY="92767" custLinFactNeighborY="-50405">
        <dgm:presLayoutVars>
          <dgm:bulletEnabled val="1"/>
        </dgm:presLayoutVars>
      </dgm:prSet>
      <dgm:spPr/>
      <dgm:t>
        <a:bodyPr/>
        <a:lstStyle/>
        <a:p>
          <a:endParaRPr lang="en-US"/>
        </a:p>
      </dgm:t>
    </dgm:pt>
  </dgm:ptLst>
  <dgm:cxnLst>
    <dgm:cxn modelId="{74A66DD8-1429-469D-BC9D-0A6F8A7C5C60}" srcId="{10AB865B-6AAF-4B8B-A9A6-9ACF3B2438E9}" destId="{CD4626D5-8CC5-41C9-9063-B845BA922E28}" srcOrd="2" destOrd="0" parTransId="{8097E680-0197-4FFD-A780-A45E1F9EE998}" sibTransId="{518BB191-AD4B-4916-AA4D-8650B4D6006D}"/>
    <dgm:cxn modelId="{4A4005C7-D151-4261-9E00-4F5A8ABECB62}" srcId="{10AB865B-6AAF-4B8B-A9A6-9ACF3B2438E9}" destId="{BF7A3683-CCBA-41BB-8586-8D638FCBE1B1}" srcOrd="8" destOrd="0" parTransId="{541E169B-6AB3-43AD-9576-774B3CAFFB4C}" sibTransId="{C9C0CA69-190C-4BBE-B422-F5B998FBADE8}"/>
    <dgm:cxn modelId="{1F91DDB4-E37B-4C85-952F-57A3300A5A2B}" type="presOf" srcId="{6CC88AD4-A6A8-4A04-983F-ECFC5DE4426C}" destId="{BC10CFDC-D045-4AC3-A2C3-3A5C7F5B3250}" srcOrd="0" destOrd="1" presId="urn:microsoft.com/office/officeart/2005/8/layout/vList2"/>
    <dgm:cxn modelId="{DD6EBC45-6B69-4A31-8700-74A4867CE9AC}" srcId="{10AB865B-6AAF-4B8B-A9A6-9ACF3B2438E9}" destId="{F1DEEE62-FDF7-4465-8DFD-12ECAD17359C}" srcOrd="0" destOrd="0" parTransId="{D58AFEB4-CD26-4E45-8212-8BABC2552F32}" sibTransId="{3DA44AAA-5BFF-4D97-8728-50D3DF578A67}"/>
    <dgm:cxn modelId="{ED4CFAB1-09CF-43C3-B349-33D8C3C89AE6}" type="presOf" srcId="{10AB865B-6AAF-4B8B-A9A6-9ACF3B2438E9}" destId="{C0672512-A2E2-43CB-B96C-CF4C96891164}" srcOrd="0" destOrd="0" presId="urn:microsoft.com/office/officeart/2005/8/layout/vList2"/>
    <dgm:cxn modelId="{71018181-F6BA-44F6-BB62-7E0C06C73B4B}" type="presOf" srcId="{F1DEEE62-FDF7-4465-8DFD-12ECAD17359C}" destId="{BC10CFDC-D045-4AC3-A2C3-3A5C7F5B3250}" srcOrd="0" destOrd="0" presId="urn:microsoft.com/office/officeart/2005/8/layout/vList2"/>
    <dgm:cxn modelId="{A7682372-DDBF-468C-9309-1C6796C82572}" srcId="{10AB865B-6AAF-4B8B-A9A6-9ACF3B2438E9}" destId="{C0C93E54-74B7-44B7-A15C-B44F04A8F513}" srcOrd="7" destOrd="0" parTransId="{FFE3037D-7869-416E-9013-DF9D18988C39}" sibTransId="{706A2A77-93AF-4DE3-BF21-F4966CCA6EBF}"/>
    <dgm:cxn modelId="{0A503600-363D-4285-BE9D-B466F070B3C8}" type="presOf" srcId="{884D55FE-901D-4ADE-9EB2-B8C8A287648C}" destId="{BC10CFDC-D045-4AC3-A2C3-3A5C7F5B3250}" srcOrd="0" destOrd="5" presId="urn:microsoft.com/office/officeart/2005/8/layout/vList2"/>
    <dgm:cxn modelId="{21F42932-352C-4368-9C92-C2EAF5C3D0C3}" srcId="{10AB865B-6AAF-4B8B-A9A6-9ACF3B2438E9}" destId="{9376AD5C-0234-4C97-A3B9-796CCD422295}" srcOrd="3" destOrd="0" parTransId="{AC138C44-971C-413E-8F7A-9CB18694BE24}" sibTransId="{28C5DB24-BD95-48F0-B268-33764FE4C282}"/>
    <dgm:cxn modelId="{5B7B3D4C-D821-4838-8FEC-4955EC608920}" srcId="{10AB865B-6AAF-4B8B-A9A6-9ACF3B2438E9}" destId="{6CC88AD4-A6A8-4A04-983F-ECFC5DE4426C}" srcOrd="1" destOrd="0" parTransId="{412457F4-B1AF-470A-92F9-69BC13949FBA}" sibTransId="{88096133-AC9F-4F54-847F-A07E6C06CF8D}"/>
    <dgm:cxn modelId="{A263E406-09DC-49F3-83D2-7B4758993A09}" srcId="{5EE78B0F-C07D-49E2-911E-95F1801FE48A}" destId="{10AB865B-6AAF-4B8B-A9A6-9ACF3B2438E9}" srcOrd="0" destOrd="0" parTransId="{A7BE3B71-3187-4E24-8A1B-ECECDB86CE3D}" sibTransId="{0116BA1D-D6DE-4D2F-8849-DCAA9B00FF6F}"/>
    <dgm:cxn modelId="{7C274D30-3388-4022-BFD6-E5BE12858A16}" type="presOf" srcId="{9376AD5C-0234-4C97-A3B9-796CCD422295}" destId="{BC10CFDC-D045-4AC3-A2C3-3A5C7F5B3250}" srcOrd="0" destOrd="3" presId="urn:microsoft.com/office/officeart/2005/8/layout/vList2"/>
    <dgm:cxn modelId="{F695F281-A07D-4AA1-A588-D55103379023}" srcId="{10AB865B-6AAF-4B8B-A9A6-9ACF3B2438E9}" destId="{01586762-0386-47F9-8300-9B2EA124E66E}" srcOrd="6" destOrd="0" parTransId="{614652D2-85F4-4296-87A9-8A406AF59A4A}" sibTransId="{9DA11FBB-824D-4652-9590-4593341F624B}"/>
    <dgm:cxn modelId="{97733D5E-9AA2-4845-A4A9-4EE77F4E5CD5}" type="presOf" srcId="{789E564A-7054-4E85-9CBD-2B6E74F34559}" destId="{BC10CFDC-D045-4AC3-A2C3-3A5C7F5B3250}" srcOrd="0" destOrd="4" presId="urn:microsoft.com/office/officeart/2005/8/layout/vList2"/>
    <dgm:cxn modelId="{FAA55125-D260-440A-8327-34B2A9CDB44C}" type="presOf" srcId="{5EE78B0F-C07D-49E2-911E-95F1801FE48A}" destId="{B1705B4E-3B32-4854-BED6-DD034CCD61A3}" srcOrd="0" destOrd="0" presId="urn:microsoft.com/office/officeart/2005/8/layout/vList2"/>
    <dgm:cxn modelId="{881279AB-EB77-4F9B-BC33-12602A278C7C}" type="presOf" srcId="{BF7A3683-CCBA-41BB-8586-8D638FCBE1B1}" destId="{BC10CFDC-D045-4AC3-A2C3-3A5C7F5B3250}" srcOrd="0" destOrd="8" presId="urn:microsoft.com/office/officeart/2005/8/layout/vList2"/>
    <dgm:cxn modelId="{356D6B7E-904D-4C60-9CC9-ABBE73757F48}" type="presOf" srcId="{CD4626D5-8CC5-41C9-9063-B845BA922E28}" destId="{BC10CFDC-D045-4AC3-A2C3-3A5C7F5B3250}" srcOrd="0" destOrd="2" presId="urn:microsoft.com/office/officeart/2005/8/layout/vList2"/>
    <dgm:cxn modelId="{E6B15286-5004-49EB-9A19-C383D19FF7AB}" type="presOf" srcId="{01586762-0386-47F9-8300-9B2EA124E66E}" destId="{BC10CFDC-D045-4AC3-A2C3-3A5C7F5B3250}" srcOrd="0" destOrd="6" presId="urn:microsoft.com/office/officeart/2005/8/layout/vList2"/>
    <dgm:cxn modelId="{D5F49DD8-E2F1-48BE-9C40-9C64A1447D4F}" srcId="{10AB865B-6AAF-4B8B-A9A6-9ACF3B2438E9}" destId="{789E564A-7054-4E85-9CBD-2B6E74F34559}" srcOrd="4" destOrd="0" parTransId="{3BC42436-DF0D-4A9A-A6FC-4D63BB186FD9}" sibTransId="{A9D509A3-356E-4C5A-B62D-DAA21EBCBA52}"/>
    <dgm:cxn modelId="{7C2A0DEF-2012-4563-9B28-357A835AFFAE}" srcId="{10AB865B-6AAF-4B8B-A9A6-9ACF3B2438E9}" destId="{884D55FE-901D-4ADE-9EB2-B8C8A287648C}" srcOrd="5" destOrd="0" parTransId="{36154A32-0663-4D12-8B69-2F4A98980D40}" sibTransId="{69BA620A-F58F-46D3-9671-343EFBA9295C}"/>
    <dgm:cxn modelId="{CE45B980-F483-476E-B223-5AB10C71E954}" type="presOf" srcId="{C0C93E54-74B7-44B7-A15C-B44F04A8F513}" destId="{BC10CFDC-D045-4AC3-A2C3-3A5C7F5B3250}" srcOrd="0" destOrd="7" presId="urn:microsoft.com/office/officeart/2005/8/layout/vList2"/>
    <dgm:cxn modelId="{AF8626CE-AA13-4DDB-AB30-F6CC6E402F7B}" type="presParOf" srcId="{B1705B4E-3B32-4854-BED6-DD034CCD61A3}" destId="{C0672512-A2E2-43CB-B96C-CF4C96891164}" srcOrd="0" destOrd="0" presId="urn:microsoft.com/office/officeart/2005/8/layout/vList2"/>
    <dgm:cxn modelId="{B3B3F32B-280C-46D1-B950-D3EBAB0BBF33}" type="presParOf" srcId="{B1705B4E-3B32-4854-BED6-DD034CCD61A3}" destId="{BC10CFDC-D045-4AC3-A2C3-3A5C7F5B3250}" srcOrd="1"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0672512-A2E2-43CB-B96C-CF4C96891164}">
      <dsp:nvSpPr>
        <dsp:cNvPr id="0" name=""/>
        <dsp:cNvSpPr/>
      </dsp:nvSpPr>
      <dsp:spPr>
        <a:xfrm>
          <a:off x="0" y="0"/>
          <a:ext cx="11337491" cy="116202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t>During today's program, we will discuss: </a:t>
          </a:r>
          <a:endParaRPr lang="en-US" sz="2400" kern="1200" dirty="0"/>
        </a:p>
      </dsp:txBody>
      <dsp:txXfrm>
        <a:off x="0" y="0"/>
        <a:ext cx="11337491" cy="1162025"/>
      </dsp:txXfrm>
    </dsp:sp>
    <dsp:sp modelId="{BC10CFDC-D045-4AC3-A2C3-3A5C7F5B3250}">
      <dsp:nvSpPr>
        <dsp:cNvPr id="0" name=""/>
        <dsp:cNvSpPr/>
      </dsp:nvSpPr>
      <dsp:spPr>
        <a:xfrm>
          <a:off x="0" y="284951"/>
          <a:ext cx="11337491" cy="44921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9965" tIns="30480" rIns="170688" bIns="30480" numCol="1" spcCol="1270" anchor="t" anchorCtr="0">
          <a:noAutofit/>
        </a:bodyPr>
        <a:lstStyle/>
        <a:p>
          <a:pPr marL="228600" lvl="1" indent="-228600" algn="l" defTabSz="1066800">
            <a:lnSpc>
              <a:spcPct val="100000"/>
            </a:lnSpc>
            <a:spcBef>
              <a:spcPct val="0"/>
            </a:spcBef>
            <a:spcAft>
              <a:spcPts val="1200"/>
            </a:spcAft>
            <a:buChar char="••"/>
          </a:pPr>
          <a:endParaRPr lang="en-US" sz="2400" kern="1200" dirty="0">
            <a:solidFill>
              <a:schemeClr val="tx2"/>
            </a:solidFill>
          </a:endParaRPr>
        </a:p>
        <a:p>
          <a:pPr marL="228600" lvl="1" indent="-228600" algn="l" defTabSz="1066800">
            <a:lnSpc>
              <a:spcPct val="100000"/>
            </a:lnSpc>
            <a:spcBef>
              <a:spcPct val="0"/>
            </a:spcBef>
            <a:spcAft>
              <a:spcPts val="1200"/>
            </a:spcAft>
            <a:buChar char="••"/>
          </a:pPr>
          <a:endParaRPr lang="en-US" sz="2400" kern="1200" dirty="0">
            <a:solidFill>
              <a:schemeClr val="tx2"/>
            </a:solidFill>
          </a:endParaRPr>
        </a:p>
        <a:p>
          <a:pPr marL="228600" lvl="1" indent="-228600" algn="l" defTabSz="1066800">
            <a:lnSpc>
              <a:spcPct val="100000"/>
            </a:lnSpc>
            <a:spcBef>
              <a:spcPct val="0"/>
            </a:spcBef>
            <a:spcAft>
              <a:spcPts val="1200"/>
            </a:spcAft>
            <a:buChar char="••"/>
          </a:pPr>
          <a:r>
            <a:rPr lang="en-US" sz="2400" kern="1200" dirty="0" smtClean="0">
              <a:solidFill>
                <a:schemeClr val="tx2"/>
              </a:solidFill>
            </a:rPr>
            <a:t>The current malpractice environment</a:t>
          </a:r>
          <a:endParaRPr lang="en-US" sz="2400" kern="1200" dirty="0">
            <a:solidFill>
              <a:schemeClr val="tx2"/>
            </a:solidFill>
          </a:endParaRPr>
        </a:p>
        <a:p>
          <a:pPr marL="228600" lvl="1" indent="-228600" algn="l" defTabSz="1066800">
            <a:lnSpc>
              <a:spcPct val="100000"/>
            </a:lnSpc>
            <a:spcBef>
              <a:spcPct val="0"/>
            </a:spcBef>
            <a:spcAft>
              <a:spcPts val="1200"/>
            </a:spcAft>
            <a:buChar char="••"/>
          </a:pPr>
          <a:r>
            <a:rPr lang="en-US" sz="2400" kern="1200" dirty="0" smtClean="0">
              <a:solidFill>
                <a:schemeClr val="tx2"/>
              </a:solidFill>
            </a:rPr>
            <a:t>Common categories of cases </a:t>
          </a:r>
          <a:endParaRPr lang="en-US" sz="2400" kern="1200" dirty="0">
            <a:solidFill>
              <a:schemeClr val="tx2"/>
            </a:solidFill>
          </a:endParaRPr>
        </a:p>
        <a:p>
          <a:pPr marL="457200" lvl="2" indent="-228600" algn="l" defTabSz="889000">
            <a:lnSpc>
              <a:spcPct val="100000"/>
            </a:lnSpc>
            <a:spcBef>
              <a:spcPct val="0"/>
            </a:spcBef>
            <a:spcAft>
              <a:spcPts val="1200"/>
            </a:spcAft>
            <a:buChar char="••"/>
          </a:pPr>
          <a:r>
            <a:rPr lang="en-US" sz="2000" kern="1200" dirty="0" smtClean="0">
              <a:solidFill>
                <a:schemeClr val="tx2"/>
              </a:solidFill>
            </a:rPr>
            <a:t>Informed Consent</a:t>
          </a:r>
          <a:endParaRPr lang="en-US" sz="2000" kern="1200" dirty="0">
            <a:solidFill>
              <a:schemeClr val="tx2"/>
            </a:solidFill>
          </a:endParaRPr>
        </a:p>
        <a:p>
          <a:pPr marL="457200" lvl="2" indent="-228600" algn="l" defTabSz="889000">
            <a:lnSpc>
              <a:spcPct val="100000"/>
            </a:lnSpc>
            <a:spcBef>
              <a:spcPct val="0"/>
            </a:spcBef>
            <a:spcAft>
              <a:spcPts val="1200"/>
            </a:spcAft>
            <a:buChar char="••"/>
          </a:pPr>
          <a:r>
            <a:rPr lang="en-US" sz="2000" kern="1200" dirty="0" smtClean="0">
              <a:solidFill>
                <a:schemeClr val="tx2"/>
              </a:solidFill>
            </a:rPr>
            <a:t>Preoperative Errors</a:t>
          </a:r>
          <a:endParaRPr lang="en-US" sz="2000" kern="1200" dirty="0">
            <a:solidFill>
              <a:schemeClr val="tx2"/>
            </a:solidFill>
          </a:endParaRPr>
        </a:p>
        <a:p>
          <a:pPr marL="457200" lvl="2" indent="-228600" algn="l" defTabSz="889000">
            <a:lnSpc>
              <a:spcPct val="100000"/>
            </a:lnSpc>
            <a:spcBef>
              <a:spcPct val="0"/>
            </a:spcBef>
            <a:spcAft>
              <a:spcPts val="1200"/>
            </a:spcAft>
            <a:buChar char="••"/>
          </a:pPr>
          <a:r>
            <a:rPr lang="en-US" sz="2000" kern="1200" smtClean="0">
              <a:solidFill>
                <a:schemeClr val="tx2"/>
              </a:solidFill>
            </a:rPr>
            <a:t>Intraoperative Errors</a:t>
          </a:r>
          <a:endParaRPr lang="en-US" sz="2000" kern="1200" dirty="0">
            <a:solidFill>
              <a:schemeClr val="tx2"/>
            </a:solidFill>
          </a:endParaRPr>
        </a:p>
        <a:p>
          <a:pPr marL="457200" lvl="2" indent="-228600" algn="l" defTabSz="889000">
            <a:lnSpc>
              <a:spcPct val="100000"/>
            </a:lnSpc>
            <a:spcBef>
              <a:spcPct val="0"/>
            </a:spcBef>
            <a:spcAft>
              <a:spcPts val="1200"/>
            </a:spcAft>
            <a:buChar char="••"/>
          </a:pPr>
          <a:r>
            <a:rPr lang="en-US" sz="2000" kern="1200" smtClean="0">
              <a:solidFill>
                <a:schemeClr val="tx2"/>
              </a:solidFill>
            </a:rPr>
            <a:t>Postoperative Errors</a:t>
          </a:r>
          <a:endParaRPr lang="en-US" sz="2000" kern="1200" dirty="0">
            <a:solidFill>
              <a:schemeClr val="tx2"/>
            </a:solidFill>
          </a:endParaRPr>
        </a:p>
        <a:p>
          <a:pPr marL="228600" lvl="1" indent="-228600" algn="l" defTabSz="1066800">
            <a:lnSpc>
              <a:spcPct val="100000"/>
            </a:lnSpc>
            <a:spcBef>
              <a:spcPct val="0"/>
            </a:spcBef>
            <a:spcAft>
              <a:spcPts val="1200"/>
            </a:spcAft>
            <a:buChar char="••"/>
          </a:pPr>
          <a:r>
            <a:rPr lang="en-US" sz="2400" kern="1200" dirty="0" smtClean="0">
              <a:solidFill>
                <a:schemeClr val="tx2"/>
              </a:solidFill>
            </a:rPr>
            <a:t>"Disaster" claims in each category </a:t>
          </a:r>
          <a:endParaRPr lang="en-US" sz="2400" kern="1200" dirty="0">
            <a:solidFill>
              <a:schemeClr val="tx2"/>
            </a:solidFill>
          </a:endParaRPr>
        </a:p>
        <a:p>
          <a:pPr marL="228600" lvl="1" indent="-228600" algn="l" defTabSz="1066800">
            <a:lnSpc>
              <a:spcPct val="100000"/>
            </a:lnSpc>
            <a:spcBef>
              <a:spcPct val="0"/>
            </a:spcBef>
            <a:spcAft>
              <a:spcPts val="1200"/>
            </a:spcAft>
            <a:buChar char="••"/>
          </a:pPr>
          <a:r>
            <a:rPr lang="en-US" sz="2400" kern="1200" dirty="0" smtClean="0">
              <a:solidFill>
                <a:schemeClr val="tx2"/>
              </a:solidFill>
            </a:rPr>
            <a:t>Risk management considerations—preventing "disaster" claims</a:t>
          </a:r>
          <a:endParaRPr lang="en-US" sz="2400" kern="1200" dirty="0">
            <a:solidFill>
              <a:schemeClr val="tx2"/>
            </a:solidFill>
          </a:endParaRPr>
        </a:p>
        <a:p>
          <a:pPr marL="228600" lvl="1" indent="-228600" algn="l" defTabSz="1066800">
            <a:lnSpc>
              <a:spcPct val="100000"/>
            </a:lnSpc>
            <a:spcBef>
              <a:spcPct val="0"/>
            </a:spcBef>
            <a:spcAft>
              <a:spcPts val="1200"/>
            </a:spcAft>
            <a:buChar char="••"/>
          </a:pPr>
          <a:endParaRPr lang="en-US" sz="2400" kern="1200" dirty="0">
            <a:solidFill>
              <a:schemeClr val="tx2"/>
            </a:solidFill>
          </a:endParaRPr>
        </a:p>
      </dsp:txBody>
      <dsp:txXfrm>
        <a:off x="0" y="284951"/>
        <a:ext cx="11337491" cy="4492104"/>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475" cy="466726"/>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sz="quarter" idx="1"/>
          </p:nvPr>
        </p:nvSpPr>
        <p:spPr>
          <a:xfrm>
            <a:off x="3970339" y="2"/>
            <a:ext cx="3038475" cy="466726"/>
          </a:xfrm>
          <a:prstGeom prst="rect">
            <a:avLst/>
          </a:prstGeom>
        </p:spPr>
        <p:txBody>
          <a:bodyPr vert="horz" lIns="91427" tIns="45713" rIns="91427" bIns="45713" rtlCol="0"/>
          <a:lstStyle>
            <a:lvl1pPr algn="r">
              <a:defRPr sz="1200"/>
            </a:lvl1pPr>
          </a:lstStyle>
          <a:p>
            <a:endParaRPr lang="en-US" dirty="0"/>
          </a:p>
        </p:txBody>
      </p:sp>
      <p:sp>
        <p:nvSpPr>
          <p:cNvPr id="4" name="Footer Placeholder 3"/>
          <p:cNvSpPr>
            <a:spLocks noGrp="1"/>
          </p:cNvSpPr>
          <p:nvPr>
            <p:ph type="ftr" sz="quarter" idx="2"/>
          </p:nvPr>
        </p:nvSpPr>
        <p:spPr>
          <a:xfrm>
            <a:off x="1" y="8829676"/>
            <a:ext cx="3038475" cy="466726"/>
          </a:xfrm>
          <a:prstGeom prst="rect">
            <a:avLst/>
          </a:prstGeom>
        </p:spPr>
        <p:txBody>
          <a:bodyPr vert="horz" lIns="91427" tIns="45713" rIns="91427"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676"/>
            <a:ext cx="3038475" cy="466726"/>
          </a:xfrm>
          <a:prstGeom prst="rect">
            <a:avLst/>
          </a:prstGeom>
        </p:spPr>
        <p:txBody>
          <a:bodyPr vert="horz" lIns="91427" tIns="45713" rIns="91427" bIns="45713" rtlCol="0" anchor="b"/>
          <a:lstStyle>
            <a:lvl1pPr algn="r">
              <a:defRPr sz="1200"/>
            </a:lvl1pPr>
          </a:lstStyle>
          <a:p>
            <a:fld id="{8B11DE57-793B-441D-8459-6CFA91A6E7BF}" type="slidenum">
              <a:rPr lang="en-US"/>
              <a:pPr/>
              <a:t>‹#›</a:t>
            </a:fld>
            <a:endParaRPr lang="en-US" dirty="0"/>
          </a:p>
        </p:txBody>
      </p:sp>
    </p:spTree>
    <p:extLst>
      <p:ext uri="{BB962C8B-B14F-4D97-AF65-F5344CB8AC3E}">
        <p14:creationId xmlns:p14="http://schemas.microsoft.com/office/powerpoint/2010/main" xmlns="" val="33667782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044E7C59-49ED-4695-89D2-180D528F3EDF}" type="datetimeFigureOut">
              <a:rPr lang="en-US"/>
              <a:pPr/>
              <a:t>1/22/2024</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F1E04EB7-A8D7-4D8D-8930-9CC5C53FD05E}" type="slidenum">
              <a:rPr lang="en-US"/>
              <a:pPr/>
              <a:t>‹#›</a:t>
            </a:fld>
            <a:endParaRPr lang="en-US" dirty="0"/>
          </a:p>
        </p:txBody>
      </p:sp>
    </p:spTree>
    <p:extLst>
      <p:ext uri="{BB962C8B-B14F-4D97-AF65-F5344CB8AC3E}">
        <p14:creationId xmlns:p14="http://schemas.microsoft.com/office/powerpoint/2010/main" xmlns="" val="7069419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1</a:t>
            </a:fld>
            <a:endParaRPr lang="en-US" dirty="0"/>
          </a:p>
        </p:txBody>
      </p:sp>
    </p:spTree>
    <p:extLst>
      <p:ext uri="{BB962C8B-B14F-4D97-AF65-F5344CB8AC3E}">
        <p14:creationId xmlns:p14="http://schemas.microsoft.com/office/powerpoint/2010/main" xmlns="" val="13503097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10</a:t>
            </a:fld>
            <a:endParaRPr lang="en-US" dirty="0"/>
          </a:p>
        </p:txBody>
      </p:sp>
    </p:spTree>
    <p:extLst>
      <p:ext uri="{BB962C8B-B14F-4D97-AF65-F5344CB8AC3E}">
        <p14:creationId xmlns:p14="http://schemas.microsoft.com/office/powerpoint/2010/main" xmlns="" val="80509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11</a:t>
            </a:fld>
            <a:endParaRPr lang="en-US" dirty="0"/>
          </a:p>
        </p:txBody>
      </p:sp>
    </p:spTree>
    <p:extLst>
      <p:ext uri="{BB962C8B-B14F-4D97-AF65-F5344CB8AC3E}">
        <p14:creationId xmlns:p14="http://schemas.microsoft.com/office/powerpoint/2010/main" xmlns="" val="1707732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 slide]</a:t>
            </a:r>
          </a:p>
          <a:p>
            <a:endParaRPr lang="en-US" dirty="0" smtClean="0"/>
          </a:p>
          <a:p>
            <a:r>
              <a:rPr lang="en-US" dirty="0" smtClean="0"/>
              <a:t>There are 3</a:t>
            </a:r>
            <a:r>
              <a:rPr lang="en-US" baseline="0" dirty="0" smtClean="0"/>
              <a:t> main elements to a malpractice claim: (1) liability, or a breach of the standard of care, (2) causation, and (3) damages. </a:t>
            </a:r>
            <a:endParaRPr lang="en-US" dirty="0" smtClean="0"/>
          </a:p>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12</a:t>
            </a:fld>
            <a:endParaRPr lang="en-US" dirty="0"/>
          </a:p>
        </p:txBody>
      </p:sp>
    </p:spTree>
    <p:extLst>
      <p:ext uri="{BB962C8B-B14F-4D97-AF65-F5344CB8AC3E}">
        <p14:creationId xmlns:p14="http://schemas.microsoft.com/office/powerpoint/2010/main" xmlns="" val="2455441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ig thing that we are all</a:t>
            </a:r>
            <a:r>
              <a:rPr lang="en-US" baseline="0" dirty="0" smtClean="0"/>
              <a:t> focused on in defending in malpractice cases is did our insured comply with the </a:t>
            </a:r>
            <a:r>
              <a:rPr lang="en-US" b="1" baseline="0" dirty="0" smtClean="0"/>
              <a:t>standard of care</a:t>
            </a:r>
            <a:r>
              <a:rPr lang="en-US" b="0" baseline="0" dirty="0" smtClean="0"/>
              <a:t>.</a:t>
            </a:r>
          </a:p>
          <a:p>
            <a:endParaRPr lang="en-US" b="0" baseline="0" dirty="0" smtClean="0"/>
          </a:p>
          <a:p>
            <a:r>
              <a:rPr lang="en-US" b="0" baseline="0" dirty="0" smtClean="0"/>
              <a:t>The standard of care is defined as what a reasonable dentist of similar training or experience would or would not do under the same or similar circumstances.</a:t>
            </a:r>
          </a:p>
          <a:p>
            <a:endParaRPr lang="en-US" b="0" baseline="0" dirty="0" smtClean="0"/>
          </a:p>
          <a:p>
            <a:r>
              <a:rPr lang="en-US" b="0" baseline="0" dirty="0" smtClean="0"/>
              <a:t>How is that proven?</a:t>
            </a:r>
            <a:endParaRPr lang="en-US" dirty="0" smtClean="0"/>
          </a:p>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13</a:t>
            </a:fld>
            <a:endParaRPr lang="en-US" dirty="0"/>
          </a:p>
        </p:txBody>
      </p:sp>
    </p:spTree>
    <p:extLst>
      <p:ext uri="{BB962C8B-B14F-4D97-AF65-F5344CB8AC3E}">
        <p14:creationId xmlns:p14="http://schemas.microsoft.com/office/powerpoint/2010/main" xmlns="" val="2274920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14</a:t>
            </a:fld>
            <a:endParaRPr lang="en-US" dirty="0"/>
          </a:p>
        </p:txBody>
      </p:sp>
    </p:spTree>
    <p:extLst>
      <p:ext uri="{BB962C8B-B14F-4D97-AF65-F5344CB8AC3E}">
        <p14:creationId xmlns:p14="http://schemas.microsoft.com/office/powerpoint/2010/main" xmlns="" val="445617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pPr/>
              <a:t>15</a:t>
            </a:fld>
            <a:endParaRPr lang="en-US" dirty="0"/>
          </a:p>
        </p:txBody>
      </p:sp>
    </p:spTree>
    <p:extLst>
      <p:ext uri="{BB962C8B-B14F-4D97-AF65-F5344CB8AC3E}">
        <p14:creationId xmlns:p14="http://schemas.microsoft.com/office/powerpoint/2010/main" xmlns="" val="2664594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20</a:t>
            </a:fld>
            <a:endParaRPr lang="en-US" dirty="0"/>
          </a:p>
        </p:txBody>
      </p:sp>
    </p:spTree>
    <p:extLst>
      <p:ext uri="{BB962C8B-B14F-4D97-AF65-F5344CB8AC3E}">
        <p14:creationId xmlns:p14="http://schemas.microsoft.com/office/powerpoint/2010/main" xmlns="" val="2295681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F1E04EB7-A8D7-4D8D-8930-9CC5C53FD05E}" type="slidenum">
              <a:rPr lang="en-US"/>
              <a:pPr/>
              <a:t>21</a:t>
            </a:fld>
            <a:endParaRPr lang="en-US" dirty="0"/>
          </a:p>
        </p:txBody>
      </p:sp>
    </p:spTree>
    <p:extLst>
      <p:ext uri="{BB962C8B-B14F-4D97-AF65-F5344CB8AC3E}">
        <p14:creationId xmlns:p14="http://schemas.microsoft.com/office/powerpoint/2010/main" xmlns="" val="3849540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22</a:t>
            </a:fld>
            <a:endParaRPr lang="en-US" dirty="0"/>
          </a:p>
        </p:txBody>
      </p:sp>
    </p:spTree>
    <p:extLst>
      <p:ext uri="{BB962C8B-B14F-4D97-AF65-F5344CB8AC3E}">
        <p14:creationId xmlns:p14="http://schemas.microsoft.com/office/powerpoint/2010/main" xmlns="" val="3139516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pPr/>
              <a:t>23</a:t>
            </a:fld>
            <a:endParaRPr lang="en-US" dirty="0"/>
          </a:p>
        </p:txBody>
      </p:sp>
    </p:spTree>
    <p:extLst>
      <p:ext uri="{BB962C8B-B14F-4D97-AF65-F5344CB8AC3E}">
        <p14:creationId xmlns:p14="http://schemas.microsoft.com/office/powerpoint/2010/main" xmlns="" val="3695880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2</a:t>
            </a:fld>
            <a:endParaRPr lang="en-US" dirty="0"/>
          </a:p>
        </p:txBody>
      </p:sp>
    </p:spTree>
    <p:extLst>
      <p:ext uri="{BB962C8B-B14F-4D97-AF65-F5344CB8AC3E}">
        <p14:creationId xmlns:p14="http://schemas.microsoft.com/office/powerpoint/2010/main" xmlns="" val="21708817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ctr"/>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xmlns="" val="694810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ctr"/>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25</a:t>
            </a:fld>
            <a:endParaRPr lang="en-US" dirty="0">
              <a:solidFill>
                <a:prstClr val="black"/>
              </a:solidFill>
            </a:endParaRPr>
          </a:p>
        </p:txBody>
      </p:sp>
    </p:spTree>
    <p:extLst>
      <p:ext uri="{BB962C8B-B14F-4D97-AF65-F5344CB8AC3E}">
        <p14:creationId xmlns:p14="http://schemas.microsoft.com/office/powerpoint/2010/main" xmlns="" val="37130757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ctr"/>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xmlns="" val="595295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ctr"/>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27</a:t>
            </a:fld>
            <a:endParaRPr lang="en-US" dirty="0">
              <a:solidFill>
                <a:prstClr val="black"/>
              </a:solidFill>
            </a:endParaRPr>
          </a:p>
        </p:txBody>
      </p:sp>
    </p:spTree>
    <p:extLst>
      <p:ext uri="{BB962C8B-B14F-4D97-AF65-F5344CB8AC3E}">
        <p14:creationId xmlns:p14="http://schemas.microsoft.com/office/powerpoint/2010/main" xmlns="" val="40648413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pPr/>
              <a:t>28</a:t>
            </a:fld>
            <a:endParaRPr lang="en-US" dirty="0"/>
          </a:p>
        </p:txBody>
      </p:sp>
    </p:spTree>
    <p:extLst>
      <p:ext uri="{BB962C8B-B14F-4D97-AF65-F5344CB8AC3E}">
        <p14:creationId xmlns:p14="http://schemas.microsoft.com/office/powerpoint/2010/main" xmlns="" val="32170399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Large study of hospital ICUs rated the quality of teamwork and team communication across organization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ose ICUs where the quality of communication was ranked in the top 20%...</a:t>
            </a:r>
          </a:p>
          <a:p>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Discharge return rates were 5%, vs 16% for the other organizations</a:t>
            </a:r>
          </a:p>
          <a:p>
            <a:pPr lvl="0"/>
            <a:r>
              <a:rPr lang="en-US" sz="1200" kern="1200" dirty="0" smtClean="0">
                <a:solidFill>
                  <a:schemeClr val="tx1"/>
                </a:solidFill>
                <a:effectLst/>
                <a:latin typeface="+mn-lt"/>
                <a:ea typeface="+mn-ea"/>
                <a:cs typeface="+mn-cs"/>
              </a:rPr>
              <a:t>From a critical mortality rate standpoint, patient's chance of survival doubled</a:t>
            </a:r>
          </a:p>
          <a:p>
            <a:endParaRPr lang="en-US" b="1"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29</a:t>
            </a:fld>
            <a:endParaRPr lang="en-US" dirty="0"/>
          </a:p>
        </p:txBody>
      </p:sp>
    </p:spTree>
    <p:extLst>
      <p:ext uri="{BB962C8B-B14F-4D97-AF65-F5344CB8AC3E}">
        <p14:creationId xmlns:p14="http://schemas.microsoft.com/office/powerpoint/2010/main" xmlns="" val="41583936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F1E04EB7-A8D7-4D8D-8930-9CC5C53FD05E}" type="slidenum">
              <a:rPr lang="en-US"/>
              <a:pPr/>
              <a:t>30</a:t>
            </a:fld>
            <a:endParaRPr lang="en-US" dirty="0"/>
          </a:p>
        </p:txBody>
      </p:sp>
    </p:spTree>
    <p:extLst>
      <p:ext uri="{BB962C8B-B14F-4D97-AF65-F5344CB8AC3E}">
        <p14:creationId xmlns:p14="http://schemas.microsoft.com/office/powerpoint/2010/main" xmlns="" val="21215268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31</a:t>
            </a:fld>
            <a:endParaRPr lang="en-US" dirty="0"/>
          </a:p>
        </p:txBody>
      </p:sp>
    </p:spTree>
    <p:extLst>
      <p:ext uri="{BB962C8B-B14F-4D97-AF65-F5344CB8AC3E}">
        <p14:creationId xmlns:p14="http://schemas.microsoft.com/office/powerpoint/2010/main" xmlns="" val="1681224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pPr/>
              <a:t>32</a:t>
            </a:fld>
            <a:endParaRPr lang="en-US" dirty="0"/>
          </a:p>
        </p:txBody>
      </p:sp>
    </p:spTree>
    <p:extLst>
      <p:ext uri="{BB962C8B-B14F-4D97-AF65-F5344CB8AC3E}">
        <p14:creationId xmlns:p14="http://schemas.microsoft.com/office/powerpoint/2010/main" xmlns="" val="18245110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35</a:t>
            </a:fld>
            <a:endParaRPr lang="en-US" dirty="0"/>
          </a:p>
        </p:txBody>
      </p:sp>
    </p:spTree>
    <p:extLst>
      <p:ext uri="{BB962C8B-B14F-4D97-AF65-F5344CB8AC3E}">
        <p14:creationId xmlns:p14="http://schemas.microsoft.com/office/powerpoint/2010/main" xmlns="" val="3072121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687388" y="612775"/>
            <a:ext cx="3810000" cy="2144713"/>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Slide Number Placeholder 3"/>
          <p:cNvSpPr>
            <a:spLocks noGrp="1"/>
          </p:cNvSpPr>
          <p:nvPr>
            <p:ph type="sldNum" sz="quarter" idx="5"/>
          </p:nvPr>
        </p:nvSpPr>
        <p:spPr/>
        <p:txBody>
          <a:bodyPr/>
          <a:lstStyle/>
          <a:p>
            <a:pPr>
              <a:defRPr/>
            </a:pPr>
            <a:fld id="{C89A1C4E-ED49-4CA2-888C-031EC627D60F}" type="slidenum">
              <a:rPr lang="en-US"/>
              <a:pPr>
                <a:defRPr/>
              </a:pPr>
              <a:t>3</a:t>
            </a:fld>
            <a:endParaRPr lang="en-US" dirty="0"/>
          </a:p>
        </p:txBody>
      </p:sp>
    </p:spTree>
    <p:extLst>
      <p:ext uri="{BB962C8B-B14F-4D97-AF65-F5344CB8AC3E}">
        <p14:creationId xmlns:p14="http://schemas.microsoft.com/office/powerpoint/2010/main" xmlns="" val="10217194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F1E04EB7-A8D7-4D8D-8930-9CC5C53FD05E}" type="slidenum">
              <a:rPr lang="en-US" smtClean="0"/>
              <a:pPr/>
              <a:t>36</a:t>
            </a:fld>
            <a:endParaRPr lang="en-US" dirty="0"/>
          </a:p>
        </p:txBody>
      </p:sp>
    </p:spTree>
    <p:extLst>
      <p:ext uri="{BB962C8B-B14F-4D97-AF65-F5344CB8AC3E}">
        <p14:creationId xmlns:p14="http://schemas.microsoft.com/office/powerpoint/2010/main" xmlns="" val="12534005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37</a:t>
            </a:fld>
            <a:endParaRPr lang="en-US" dirty="0"/>
          </a:p>
        </p:txBody>
      </p:sp>
    </p:spTree>
    <p:extLst>
      <p:ext uri="{BB962C8B-B14F-4D97-AF65-F5344CB8AC3E}">
        <p14:creationId xmlns:p14="http://schemas.microsoft.com/office/powerpoint/2010/main" xmlns="" val="11935461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pPr/>
              <a:t>38</a:t>
            </a:fld>
            <a:endParaRPr lang="en-US" dirty="0"/>
          </a:p>
        </p:txBody>
      </p:sp>
    </p:spTree>
    <p:extLst>
      <p:ext uri="{BB962C8B-B14F-4D97-AF65-F5344CB8AC3E}">
        <p14:creationId xmlns:p14="http://schemas.microsoft.com/office/powerpoint/2010/main" xmlns="" val="35819120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F1E04EB7-A8D7-4D8D-8930-9CC5C53FD05E}" type="slidenum">
              <a:rPr lang="en-US"/>
              <a:pPr/>
              <a:t>43</a:t>
            </a:fld>
            <a:endParaRPr lang="en-US" dirty="0"/>
          </a:p>
        </p:txBody>
      </p:sp>
    </p:spTree>
    <p:extLst>
      <p:ext uri="{BB962C8B-B14F-4D97-AF65-F5344CB8AC3E}">
        <p14:creationId xmlns:p14="http://schemas.microsoft.com/office/powerpoint/2010/main" xmlns="" val="36308327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F1E04EB7-A8D7-4D8D-8930-9CC5C53FD05E}" type="slidenum">
              <a:rPr lang="en-US"/>
              <a:pPr/>
              <a:t>44</a:t>
            </a:fld>
            <a:endParaRPr lang="en-US" dirty="0"/>
          </a:p>
        </p:txBody>
      </p:sp>
    </p:spTree>
    <p:extLst>
      <p:ext uri="{BB962C8B-B14F-4D97-AF65-F5344CB8AC3E}">
        <p14:creationId xmlns:p14="http://schemas.microsoft.com/office/powerpoint/2010/main" xmlns="" val="7929008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45</a:t>
            </a:fld>
            <a:endParaRPr lang="en-US" dirty="0"/>
          </a:p>
        </p:txBody>
      </p:sp>
    </p:spTree>
    <p:extLst>
      <p:ext uri="{BB962C8B-B14F-4D97-AF65-F5344CB8AC3E}">
        <p14:creationId xmlns:p14="http://schemas.microsoft.com/office/powerpoint/2010/main" xmlns="" val="1128916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4</a:t>
            </a:fld>
            <a:endParaRPr lang="en-US" dirty="0"/>
          </a:p>
        </p:txBody>
      </p:sp>
    </p:spTree>
    <p:extLst>
      <p:ext uri="{BB962C8B-B14F-4D97-AF65-F5344CB8AC3E}">
        <p14:creationId xmlns:p14="http://schemas.microsoft.com/office/powerpoint/2010/main" xmlns="" val="3258835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687388" y="612775"/>
            <a:ext cx="3810000" cy="2144713"/>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Slide Number Placeholder 3"/>
          <p:cNvSpPr>
            <a:spLocks noGrp="1"/>
          </p:cNvSpPr>
          <p:nvPr>
            <p:ph type="sldNum" sz="quarter" idx="5"/>
          </p:nvPr>
        </p:nvSpPr>
        <p:spPr/>
        <p:txBody>
          <a:bodyPr/>
          <a:lstStyle/>
          <a:p>
            <a:pPr>
              <a:defRPr/>
            </a:pPr>
            <a:fld id="{C89A1C4E-ED49-4CA2-888C-031EC627D60F}" type="slidenum">
              <a:rPr lang="en-US"/>
              <a:pPr>
                <a:defRPr/>
              </a:pPr>
              <a:t>5</a:t>
            </a:fld>
            <a:endParaRPr lang="en-US" dirty="0"/>
          </a:p>
        </p:txBody>
      </p:sp>
    </p:spTree>
    <p:extLst>
      <p:ext uri="{BB962C8B-B14F-4D97-AF65-F5344CB8AC3E}">
        <p14:creationId xmlns:p14="http://schemas.microsoft.com/office/powerpoint/2010/main" xmlns="" val="464519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F1E04EB7-A8D7-4D8D-8930-9CC5C53FD05E}" type="slidenum">
              <a:rPr lang="en-US"/>
              <a:pPr/>
              <a:t>6</a:t>
            </a:fld>
            <a:endParaRPr lang="en-US" dirty="0"/>
          </a:p>
        </p:txBody>
      </p:sp>
    </p:spTree>
    <p:extLst>
      <p:ext uri="{BB962C8B-B14F-4D97-AF65-F5344CB8AC3E}">
        <p14:creationId xmlns:p14="http://schemas.microsoft.com/office/powerpoint/2010/main" xmlns="" val="4261008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pPr/>
              <a:t>7</a:t>
            </a:fld>
            <a:endParaRPr lang="en-US" dirty="0"/>
          </a:p>
        </p:txBody>
      </p:sp>
    </p:spTree>
    <p:extLst>
      <p:ext uri="{BB962C8B-B14F-4D97-AF65-F5344CB8AC3E}">
        <p14:creationId xmlns:p14="http://schemas.microsoft.com/office/powerpoint/2010/main" xmlns="" val="1180769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687388" y="612775"/>
            <a:ext cx="3810000" cy="2144713"/>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The</a:t>
            </a:r>
            <a:r>
              <a:rPr lang="en-US" baseline="0" dirty="0" smtClean="0"/>
              <a:t> frequency and severity of claims is on the rise. </a:t>
            </a:r>
          </a:p>
          <a:p>
            <a:endParaRPr lang="en-US" dirty="0" smtClean="0"/>
          </a:p>
          <a:p>
            <a:r>
              <a:rPr lang="en-US" dirty="0" smtClean="0"/>
              <a:t>We'll</a:t>
            </a:r>
            <a:r>
              <a:rPr lang="en-US" baseline="0" dirty="0" smtClean="0"/>
              <a:t> discuss this more in our sections about </a:t>
            </a:r>
            <a:r>
              <a:rPr lang="en-US" b="1" baseline="0" dirty="0" smtClean="0"/>
              <a:t>documentation </a:t>
            </a:r>
            <a:r>
              <a:rPr lang="en-US" b="0" baseline="0" dirty="0" smtClean="0"/>
              <a:t>and </a:t>
            </a:r>
            <a:r>
              <a:rPr lang="en-US" b="1" baseline="0" dirty="0" smtClean="0"/>
              <a:t>patient communication</a:t>
            </a:r>
            <a:r>
              <a:rPr lang="en-US" b="0" baseline="0" dirty="0" smtClean="0"/>
              <a:t> but part of the way Plaintiff's Attorneys are making arguments to the jury and being awarded these massive damages is by focusing not only on the dental aspect of the malpractice claim, but also </a:t>
            </a:r>
            <a:r>
              <a:rPr lang="en-US" b="1" baseline="0" dirty="0" smtClean="0"/>
              <a:t> service side</a:t>
            </a:r>
            <a:r>
              <a:rPr lang="en-US" b="0" baseline="0" dirty="0" smtClean="0"/>
              <a:t> of dentistry. </a:t>
            </a:r>
          </a:p>
          <a:p>
            <a:endParaRPr lang="en-US" b="0" baseline="0" dirty="0" smtClean="0"/>
          </a:p>
          <a:p>
            <a:pPr marL="171450" indent="-171450">
              <a:buFont typeface="Arial" panose="020B0604020202020204" pitchFamily="34" charset="0"/>
              <a:buChar char="•"/>
            </a:pPr>
            <a:r>
              <a:rPr lang="en-US" b="0" baseline="0" dirty="0" smtClean="0"/>
              <a:t>Dentist didn't call the patient back when she had complaints</a:t>
            </a:r>
          </a:p>
          <a:p>
            <a:pPr marL="171450" indent="-171450">
              <a:buFont typeface="Arial" panose="020B0604020202020204" pitchFamily="34" charset="0"/>
              <a:buChar char="•"/>
            </a:pPr>
            <a:r>
              <a:rPr lang="en-US" b="0" baseline="0" dirty="0" smtClean="0"/>
              <a:t>It looks like some records may have been altered </a:t>
            </a:r>
          </a:p>
          <a:p>
            <a:pPr marL="171450" indent="-171450">
              <a:buFont typeface="Arial" panose="020B0604020202020204" pitchFamily="34" charset="0"/>
              <a:buChar char="•"/>
            </a:pPr>
            <a:r>
              <a:rPr lang="en-US" b="0" baseline="0" dirty="0" smtClean="0"/>
              <a:t>How do we know if the dentist is telling the truth if the visit wasn't thoroughly charted </a:t>
            </a:r>
            <a:endParaRPr lang="en-US" dirty="0" smtClean="0"/>
          </a:p>
          <a:p>
            <a:endParaRPr lang="en-US" altLang="en-US" dirty="0"/>
          </a:p>
        </p:txBody>
      </p:sp>
      <p:sp>
        <p:nvSpPr>
          <p:cNvPr id="4" name="Slide Number Placeholder 3"/>
          <p:cNvSpPr>
            <a:spLocks noGrp="1"/>
          </p:cNvSpPr>
          <p:nvPr>
            <p:ph type="sldNum" sz="quarter" idx="5"/>
          </p:nvPr>
        </p:nvSpPr>
        <p:spPr/>
        <p:txBody>
          <a:bodyPr/>
          <a:lstStyle/>
          <a:p>
            <a:pPr>
              <a:defRPr/>
            </a:pPr>
            <a:fld id="{C89A1C4E-ED49-4CA2-888C-031EC627D60F}" type="slidenum">
              <a:rPr lang="en-US"/>
              <a:pPr>
                <a:defRPr/>
              </a:pPr>
              <a:t>8</a:t>
            </a:fld>
            <a:endParaRPr lang="en-US" dirty="0"/>
          </a:p>
        </p:txBody>
      </p:sp>
    </p:spTree>
    <p:extLst>
      <p:ext uri="{BB962C8B-B14F-4D97-AF65-F5344CB8AC3E}">
        <p14:creationId xmlns:p14="http://schemas.microsoft.com/office/powerpoint/2010/main" xmlns="" val="778194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687388" y="612775"/>
            <a:ext cx="3810000" cy="2144713"/>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b="1" dirty="0" smtClean="0"/>
              <a:t>Shock Verdicts</a:t>
            </a:r>
            <a:r>
              <a:rPr lang="en-US" b="0" baseline="0" dirty="0" smtClean="0"/>
              <a:t> are defined by verdicts over $10M. These verdicts are not just reserved for the dental specialty, but all other medical specialties. </a:t>
            </a:r>
          </a:p>
          <a:p>
            <a:endParaRPr lang="en-US" b="0" baseline="0" dirty="0" smtClean="0"/>
          </a:p>
          <a:p>
            <a:r>
              <a:rPr lang="en-US" b="0" baseline="0" dirty="0" smtClean="0"/>
              <a:t>You'll see that certain states are more volatile than others, and that is something that we are certainly mindful of in our Claims Department when we are assessing whether to take a case to trial .</a:t>
            </a:r>
            <a:endParaRPr lang="en-US" b="1" dirty="0"/>
          </a:p>
        </p:txBody>
      </p:sp>
      <p:sp>
        <p:nvSpPr>
          <p:cNvPr id="4" name="Slide Number Placeholder 3"/>
          <p:cNvSpPr>
            <a:spLocks noGrp="1"/>
          </p:cNvSpPr>
          <p:nvPr>
            <p:ph type="sldNum" sz="quarter" idx="5"/>
          </p:nvPr>
        </p:nvSpPr>
        <p:spPr/>
        <p:txBody>
          <a:bodyPr/>
          <a:lstStyle/>
          <a:p>
            <a:pPr>
              <a:defRPr/>
            </a:pPr>
            <a:fld id="{C89A1C4E-ED49-4CA2-888C-031EC627D60F}" type="slidenum">
              <a:rPr lang="en-US"/>
              <a:pPr>
                <a:defRPr/>
              </a:pPr>
              <a:t>9</a:t>
            </a:fld>
            <a:endParaRPr lang="en-US" dirty="0"/>
          </a:p>
        </p:txBody>
      </p:sp>
    </p:spTree>
    <p:extLst>
      <p:ext uri="{BB962C8B-B14F-4D97-AF65-F5344CB8AC3E}">
        <p14:creationId xmlns:p14="http://schemas.microsoft.com/office/powerpoint/2010/main" xmlns="" val="3839473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CD0885EA-6B18-4D71-972A-068FF78F5987}"/>
              </a:ext>
            </a:extLst>
          </p:cNvPr>
          <p:cNvSpPr/>
          <p:nvPr/>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xmlns=""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xmlns=""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dirty="0"/>
              <a:t>Click to edit Master subtitle style</a:t>
            </a:r>
          </a:p>
        </p:txBody>
      </p:sp>
      <p:pic>
        <p:nvPicPr>
          <p:cNvPr id="5" name="Graphic 4">
            <a:extLst>
              <a:ext uri="{FF2B5EF4-FFF2-40B4-BE49-F238E27FC236}">
                <a16:creationId xmlns:a16="http://schemas.microsoft.com/office/drawing/2014/main" xmlns="" id="{72E510C9-7083-4F5A-A5CD-A1358F6AE3EA}"/>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xmlns="" id="{96E70CF6-21FD-499A-98E7-A525C7362B0A}"/>
              </a:ext>
            </a:extLst>
          </p:cNvPr>
          <p:cNvSpPr/>
          <p:nvPr>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2330618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7AB1B1A-193A-1F40-B2AB-0A9D2F74DF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0E4FCD71-99E5-D846-AD43-7B056FE628C6}"/>
              </a:ext>
            </a:extLst>
          </p:cNvPr>
          <p:cNvSpPr>
            <a:spLocks noGrp="1"/>
          </p:cNvSpPr>
          <p:nvPr>
            <p:ph sz="half" idx="1"/>
          </p:nvPr>
        </p:nvSpPr>
        <p:spPr>
          <a:xfrm>
            <a:off x="72657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xmlns="" id="{8A06A599-343C-AF48-9F5E-ED2800F22C6D}"/>
              </a:ext>
            </a:extLst>
          </p:cNvPr>
          <p:cNvSpPr>
            <a:spLocks noGrp="1"/>
          </p:cNvSpPr>
          <p:nvPr>
            <p:ph sz="half" idx="2"/>
          </p:nvPr>
        </p:nvSpPr>
        <p:spPr>
          <a:xfrm>
            <a:off x="619123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74FA09E3-6341-2840-B4B2-446CB6BCD3DE}"/>
              </a:ext>
            </a:extLst>
          </p:cNvPr>
          <p:cNvSpPr>
            <a:spLocks noGrp="1"/>
          </p:cNvSpPr>
          <p:nvPr>
            <p:ph type="dt" sz="half" idx="10"/>
          </p:nvPr>
        </p:nvSpPr>
        <p:spPr/>
        <p:txBody>
          <a:bodyPr/>
          <a:lstStyle/>
          <a:p>
            <a:fld id="{932DD1C2-B208-4562-B8B9-3E9E71B15AEB}" type="datetime1">
              <a:rPr lang="en-US" smtClean="0"/>
              <a:pPr/>
              <a:t>1/22/2024</a:t>
            </a:fld>
            <a:endParaRPr lang="en-US" dirty="0"/>
          </a:p>
        </p:txBody>
      </p:sp>
      <p:sp>
        <p:nvSpPr>
          <p:cNvPr id="6" name="Footer Placeholder 5">
            <a:extLst>
              <a:ext uri="{FF2B5EF4-FFF2-40B4-BE49-F238E27FC236}">
                <a16:creationId xmlns:a16="http://schemas.microsoft.com/office/drawing/2014/main" xmlns=""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xmlns="" id="{85E9DF78-5CB3-4849-B9FC-1F1763722B41}"/>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8" name="Rectangle 7" hidden="1">
            <a:extLst>
              <a:ext uri="{FF2B5EF4-FFF2-40B4-BE49-F238E27FC236}">
                <a16:creationId xmlns:a16="http://schemas.microsoft.com/office/drawing/2014/main" xmlns="" id="{6B12440B-82B8-49BB-A179-16B2998F8E4C}"/>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140509314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46453C17-7258-4AD7-9BE0-96A1045478F3}"/>
              </a:ext>
            </a:extLst>
          </p:cNvPr>
          <p:cNvSpPr>
            <a:spLocks noGrp="1"/>
          </p:cNvSpPr>
          <p:nvPr>
            <p:ph type="dt" sz="half" idx="10"/>
          </p:nvPr>
        </p:nvSpPr>
        <p:spPr/>
        <p:txBody>
          <a:bodyPr/>
          <a:lstStyle/>
          <a:p>
            <a:fld id="{0CA7E49E-8520-48E1-8F47-DB7F5A59BF68}" type="datetime1">
              <a:rPr lang="en-US" smtClean="0"/>
              <a:pPr/>
              <a:t>1/22/2024</a:t>
            </a:fld>
            <a:endParaRPr lang="en-US" dirty="0"/>
          </a:p>
        </p:txBody>
      </p:sp>
      <p:sp>
        <p:nvSpPr>
          <p:cNvPr id="4" name="Footer Placeholder 3">
            <a:extLst>
              <a:ext uri="{FF2B5EF4-FFF2-40B4-BE49-F238E27FC236}">
                <a16:creationId xmlns:a16="http://schemas.microsoft.com/office/drawing/2014/main" xmlns="" id="{424D930B-8A9B-465E-92CD-75EB247A0B7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xmlns="" id="{40157046-792A-4788-B5CA-E9C55F23CA39}"/>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Text Placeholder 6">
            <a:extLst>
              <a:ext uri="{FF2B5EF4-FFF2-40B4-BE49-F238E27FC236}">
                <a16:creationId xmlns:a16="http://schemas.microsoft.com/office/drawing/2014/main" xmlns=""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xmlns="" id="{DFFA4450-53A1-4811-94EB-744A6A99036D}"/>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144789761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xmlns=""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a:t>Edit Master text styles</a:t>
            </a:r>
          </a:p>
        </p:txBody>
      </p:sp>
      <p:sp>
        <p:nvSpPr>
          <p:cNvPr id="5" name="Date Placeholder 4">
            <a:extLst>
              <a:ext uri="{FF2B5EF4-FFF2-40B4-BE49-F238E27FC236}">
                <a16:creationId xmlns:a16="http://schemas.microsoft.com/office/drawing/2014/main" xmlns="" id="{C33984B2-B9A6-BB42-BB99-BB239974F7EC}"/>
              </a:ext>
            </a:extLst>
          </p:cNvPr>
          <p:cNvSpPr>
            <a:spLocks noGrp="1"/>
          </p:cNvSpPr>
          <p:nvPr>
            <p:ph type="dt" sz="half" idx="10"/>
          </p:nvPr>
        </p:nvSpPr>
        <p:spPr/>
        <p:txBody>
          <a:bodyPr/>
          <a:lstStyle/>
          <a:p>
            <a:fld id="{DAF5B2D5-28BB-4232-A525-B24A04EE71CB}" type="datetime1">
              <a:rPr lang="en-US" smtClean="0"/>
              <a:pPr/>
              <a:t>1/22/2024</a:t>
            </a:fld>
            <a:endParaRPr lang="en-US" dirty="0"/>
          </a:p>
        </p:txBody>
      </p:sp>
      <p:sp>
        <p:nvSpPr>
          <p:cNvPr id="6" name="Footer Placeholder 5">
            <a:extLst>
              <a:ext uri="{FF2B5EF4-FFF2-40B4-BE49-F238E27FC236}">
                <a16:creationId xmlns:a16="http://schemas.microsoft.com/office/drawing/2014/main" xmlns="" id="{5B5E69B3-56DA-944E-9F0B-8E52A16DF7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xmlns="" id="{8ACDF43D-6601-6248-AA5E-FC6E72A5A8F2}"/>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8" name="Title 7">
            <a:extLst>
              <a:ext uri="{FF2B5EF4-FFF2-40B4-BE49-F238E27FC236}">
                <a16:creationId xmlns:a16="http://schemas.microsoft.com/office/drawing/2014/main" xmlns="" id="{11367FFD-A968-49DF-AC50-8C55CD8A0C90}"/>
              </a:ext>
            </a:extLst>
          </p:cNvPr>
          <p:cNvSpPr>
            <a:spLocks noGrp="1"/>
          </p:cNvSpPr>
          <p:nvPr>
            <p:ph type="title"/>
          </p:nvPr>
        </p:nvSpPr>
        <p:spPr/>
        <p:txBody>
          <a:bodyPr/>
          <a:lstStyle/>
          <a:p>
            <a:r>
              <a:rPr lang="en-US"/>
              <a:t>Click to edit Master title style</a:t>
            </a:r>
          </a:p>
        </p:txBody>
      </p:sp>
      <p:sp>
        <p:nvSpPr>
          <p:cNvPr id="9" name="Rectangle 8" hidden="1">
            <a:extLst>
              <a:ext uri="{FF2B5EF4-FFF2-40B4-BE49-F238E27FC236}">
                <a16:creationId xmlns:a16="http://schemas.microsoft.com/office/drawing/2014/main" xmlns="" id="{82F75050-2159-4314-A8A6-F31BFBC46EA2}"/>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109693709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A9586A1E-9049-0F43-BE0A-906179F5CE15}"/>
              </a:ext>
            </a:extLst>
          </p:cNvPr>
          <p:cNvSpPr>
            <a:spLocks noGrp="1"/>
          </p:cNvSpPr>
          <p:nvPr>
            <p:ph type="dt" sz="half" idx="10"/>
          </p:nvPr>
        </p:nvSpPr>
        <p:spPr/>
        <p:txBody>
          <a:bodyPr/>
          <a:lstStyle/>
          <a:p>
            <a:fld id="{708111A3-0FE3-4FBC-BE91-E192DED52CB4}" type="datetime1">
              <a:rPr lang="en-US" smtClean="0"/>
              <a:pPr/>
              <a:t>1/22/2024</a:t>
            </a:fld>
            <a:endParaRPr lang="en-US" dirty="0"/>
          </a:p>
        </p:txBody>
      </p:sp>
      <p:sp>
        <p:nvSpPr>
          <p:cNvPr id="3" name="Footer Placeholder 2">
            <a:extLst>
              <a:ext uri="{FF2B5EF4-FFF2-40B4-BE49-F238E27FC236}">
                <a16:creationId xmlns:a16="http://schemas.microsoft.com/office/drawing/2014/main" xmlns="" id="{1434A5AD-F092-F342-A9CB-26ADA6CAC85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xmlns="" id="{4DCB0A3B-B17C-C643-8EA2-B56455436C8C}"/>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Rectangle 6" hidden="1">
            <a:extLst>
              <a:ext uri="{FF2B5EF4-FFF2-40B4-BE49-F238E27FC236}">
                <a16:creationId xmlns:a16="http://schemas.microsoft.com/office/drawing/2014/main" xmlns="" id="{BDB5A986-3CC4-4068-9673-999468AFDB9F}"/>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270243775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1B41EC-0138-4DE4-AE99-9A5220A5A794}"/>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xmlns=""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xmlns=""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xmlns=""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xmlns=""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xmlns=""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xmlns=""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xmlns=""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xmlns=""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xmlns=""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xmlns=""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xmlns=""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xmlns=""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xmlns=""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xmlns=""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xmlns=""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xmlns=""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xmlns=""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xmlns=""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xmlns=""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xmlns=""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xmlns=""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xmlns=""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xmlns=""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xmlns=""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xmlns=""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xmlns=""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xmlns=""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xmlns=""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xmlns=""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xmlns=""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xmlns=""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xmlns=""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xmlns="" id="{EA15195B-B4BB-4536-81F2-3D8922482441}"/>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Date Placeholder 5">
            <a:extLst>
              <a:ext uri="{FF2B5EF4-FFF2-40B4-BE49-F238E27FC236}">
                <a16:creationId xmlns:a16="http://schemas.microsoft.com/office/drawing/2014/main" xmlns="" id="{E7541D32-1BAC-4EDC-BD30-0617FF0B32F1}"/>
              </a:ext>
            </a:extLst>
          </p:cNvPr>
          <p:cNvSpPr>
            <a:spLocks noGrp="1"/>
          </p:cNvSpPr>
          <p:nvPr>
            <p:ph type="dt" sz="half" idx="45"/>
          </p:nvPr>
        </p:nvSpPr>
        <p:spPr/>
        <p:txBody>
          <a:bodyPr/>
          <a:lstStyle/>
          <a:p>
            <a:fld id="{0CA7E49E-8520-48E1-8F47-DB7F5A59BF68}" type="datetime1">
              <a:rPr lang="en-US" smtClean="0"/>
              <a:pPr/>
              <a:t>1/22/2024</a:t>
            </a:fld>
            <a:endParaRPr lang="en-US" dirty="0"/>
          </a:p>
        </p:txBody>
      </p:sp>
      <p:sp>
        <p:nvSpPr>
          <p:cNvPr id="8" name="Footer Placeholder 7">
            <a:extLst>
              <a:ext uri="{FF2B5EF4-FFF2-40B4-BE49-F238E27FC236}">
                <a16:creationId xmlns:a16="http://schemas.microsoft.com/office/drawing/2014/main" xmlns=""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xmlns="" id="{A93B827B-4009-4143-A167-2AC2C612B9E0}"/>
              </a:ext>
            </a:extLst>
          </p:cNvPr>
          <p:cNvSpPr>
            <a:spLocks noGrp="1"/>
          </p:cNvSpPr>
          <p:nvPr>
            <p:ph type="sldNum" sz="quarter" idx="47"/>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xmlns="" val="2978728801"/>
      </p:ext>
    </p:extLst>
  </p:cSld>
  <p:clrMapOvr>
    <a:masterClrMapping/>
  </p:clrMapOvr>
  <p:hf hdr="0" ftr="0" dt="0"/>
  <p:extLst>
    <p:ext uri="{DCECCB84-F9BA-43D5-87BE-67443E8EF086}">
      <p15:sldGuideLst xmlns:p15="http://schemas.microsoft.com/office/powerpoint/2012/main" xmlns=""/>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33D34561-0681-4E2B-B130-79743C773DA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grpSp>
        <p:nvGrpSpPr>
          <p:cNvPr id="5" name="Group 4">
            <a:extLst>
              <a:ext uri="{FF2B5EF4-FFF2-40B4-BE49-F238E27FC236}">
                <a16:creationId xmlns:a16="http://schemas.microsoft.com/office/drawing/2014/main" xmlns="" id="{89210167-FC07-4257-BD6C-BF347C91A48C}"/>
              </a:ext>
            </a:extLst>
          </p:cNvPr>
          <p:cNvGrpSpPr/>
          <p:nvPr/>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xmlns=""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xmlns="" id="{98E2E84E-4386-4106-8859-0CACC15B77FE}"/>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xmlns="" val="1709850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0DDDA848-F86A-4B69-A832-5DC49C205D6F}"/>
              </a:ext>
            </a:extLst>
          </p:cNvPr>
          <p:cNvSpPr/>
          <p:nvPr/>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xmlns=""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xmlns=""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sp>
        <p:nvSpPr>
          <p:cNvPr id="5" name="Picture Placeholder 4">
            <a:extLst>
              <a:ext uri="{FF2B5EF4-FFF2-40B4-BE49-F238E27FC236}">
                <a16:creationId xmlns:a16="http://schemas.microsoft.com/office/drawing/2014/main" xmlns=""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xmlns="" id="{7EEAEBB0-A9EF-4629-A74D-A6299E135D13}"/>
              </a:ext>
            </a:extLst>
          </p:cNvPr>
          <p:cNvGrpSpPr/>
          <p:nvPr/>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xmlns=""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xmlns="" id="{2FB1BD11-062F-4425-A925-621810D2C9C5}"/>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xmlns="" val="735728204"/>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50B2C7F7-1B07-4F56-8EB7-0A869CE92866}"/>
              </a:ext>
            </a:extLst>
          </p:cNvPr>
          <p:cNvSpPr/>
          <p:nvPr/>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xmlns="" id="{B826545F-C200-4030-B63A-BBD4CEB5C28D}"/>
              </a:ext>
            </a:extLst>
          </p:cNvPr>
          <p:cNvSpPr txBox="1"/>
          <p:nvPr/>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xmlns="" val="394390077"/>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427567" y="332317"/>
            <a:ext cx="3048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Content Placeholder 2"/>
          <p:cNvSpPr>
            <a:spLocks noGrp="1"/>
          </p:cNvSpPr>
          <p:nvPr>
            <p:ph idx="1"/>
          </p:nvPr>
        </p:nvSpPr>
        <p:spPr>
          <a:xfrm>
            <a:off x="731600" y="975360"/>
            <a:ext cx="10850801" cy="5242560"/>
          </a:xfrm>
          <a:prstGeom prst="rect">
            <a:avLst/>
          </a:prstGeom>
        </p:spPr>
        <p:txBody>
          <a:bodyPr>
            <a:normAutofit/>
          </a:bodyPr>
          <a:lstStyle>
            <a:lvl1pPr marL="243834" indent="-243834">
              <a:lnSpc>
                <a:spcPct val="100000"/>
              </a:lnSpc>
              <a:buSzPct val="80000"/>
              <a:buFontTx/>
              <a:buBlip>
                <a:blip r:embed="rId3"/>
              </a:buBlip>
              <a:defRPr sz="2400">
                <a:solidFill>
                  <a:srgbClr val="00445E"/>
                </a:solidFill>
                <a:latin typeface="Trebuchet MS" charset="0"/>
                <a:ea typeface="Trebuchet MS" charset="0"/>
                <a:cs typeface="Trebuchet MS" charset="0"/>
              </a:defRPr>
            </a:lvl1pPr>
            <a:lvl2pPr marL="487668" indent="-243834" defTabSz="182875">
              <a:lnSpc>
                <a:spcPct val="100000"/>
              </a:lnSpc>
              <a:buSzPct val="80000"/>
              <a:buFontTx/>
              <a:buBlip>
                <a:blip r:embed="rId4"/>
              </a:buBlip>
              <a:defRPr sz="2133">
                <a:solidFill>
                  <a:srgbClr val="00445E"/>
                </a:solidFill>
                <a:latin typeface="Trebuchet MS" charset="0"/>
                <a:ea typeface="Trebuchet MS" charset="0"/>
                <a:cs typeface="Trebuchet MS" charset="0"/>
              </a:defRPr>
            </a:lvl2pPr>
            <a:lvl3pPr marL="731502" indent="-243834">
              <a:lnSpc>
                <a:spcPct val="90000"/>
              </a:lnSpc>
              <a:defRPr sz="1867">
                <a:solidFill>
                  <a:srgbClr val="00445E"/>
                </a:solidFill>
                <a:latin typeface="Trebuchet MS" charset="0"/>
                <a:ea typeface="Trebuchet MS" charset="0"/>
                <a:cs typeface="Trebuchet MS" charset="0"/>
              </a:defRPr>
            </a:lvl3pPr>
            <a:lvl4pPr marL="975336" indent="-243834">
              <a:lnSpc>
                <a:spcPct val="90000"/>
              </a:lnSpc>
              <a:defRPr sz="1600">
                <a:solidFill>
                  <a:srgbClr val="00445E"/>
                </a:solidFill>
                <a:latin typeface="Trebuchet MS" charset="0"/>
                <a:ea typeface="Trebuchet MS" charset="0"/>
                <a:cs typeface="Trebuchet MS" charset="0"/>
              </a:defRPr>
            </a:lvl4pPr>
            <a:lvl5pPr marL="1219170" indent="-243834">
              <a:lnSpc>
                <a:spcPct val="90000"/>
              </a:lnSpc>
              <a:defRPr sz="1600">
                <a:solidFill>
                  <a:srgbClr val="00445E"/>
                </a:solidFill>
                <a:latin typeface="Trebuchet MS" charset="0"/>
                <a:ea typeface="Trebuchet MS" charset="0"/>
                <a:cs typeface="Trebuchet MS" charset="0"/>
              </a:defRPr>
            </a:lvl5pPr>
            <a:lvl6pPr marL="1463003" indent="-243834">
              <a:lnSpc>
                <a:spcPct val="90000"/>
              </a:lnSpc>
              <a:defRPr sz="1600"/>
            </a:lvl6pPr>
            <a:lvl7pPr marL="1706837" indent="-243834">
              <a:lnSpc>
                <a:spcPct val="90000"/>
              </a:lnSpc>
              <a:defRPr sz="1600" baseline="0"/>
            </a:lvl7pPr>
            <a:lvl8pPr marL="1950671" indent="-243834">
              <a:lnSpc>
                <a:spcPct val="90000"/>
              </a:lnSpc>
              <a:defRPr sz="1600"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731520" y="121920"/>
            <a:ext cx="10850880" cy="726771"/>
          </a:xfrm>
          <a:prstGeom prst="rect">
            <a:avLst/>
          </a:prstGeom>
        </p:spPr>
        <p:txBody>
          <a:bodyPr anchor="ctr" anchorCtr="0">
            <a:normAutofit/>
          </a:bodyPr>
          <a:lstStyle>
            <a:lvl1pPr>
              <a:defRPr sz="3200" b="1">
                <a:solidFill>
                  <a:srgbClr val="00445E"/>
                </a:solidFill>
                <a:latin typeface="Tahoma" charset="0"/>
                <a:ea typeface="Tahoma" charset="0"/>
                <a:cs typeface="Tahoma" charset="0"/>
              </a:defRPr>
            </a:lvl1pPr>
          </a:lstStyle>
          <a:p>
            <a:r>
              <a:rPr lang="en-US"/>
              <a:t>Click to edit Master title style</a:t>
            </a:r>
            <a:endParaRPr lang="en-US" dirty="0"/>
          </a:p>
        </p:txBody>
      </p:sp>
    </p:spTree>
    <p:extLst>
      <p:ext uri="{BB962C8B-B14F-4D97-AF65-F5344CB8AC3E}">
        <p14:creationId xmlns:p14="http://schemas.microsoft.com/office/powerpoint/2010/main" xmlns="" val="3887295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42A654-5A66-DB47-A306-CA1C8D90C406}"/>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xmlns="" id="{D1169908-6866-BF45-A163-2917514D7756}"/>
              </a:ext>
            </a:extLst>
          </p:cNvPr>
          <p:cNvSpPr>
            <a:spLocks noGrp="1"/>
          </p:cNvSpPr>
          <p:nvPr>
            <p:ph type="dt" sz="half" idx="10"/>
          </p:nvPr>
        </p:nvSpPr>
        <p:spPr/>
        <p:txBody>
          <a:bodyPr/>
          <a:lstStyle/>
          <a:p>
            <a:fld id="{2A0070D2-5A30-47BC-889E-F074FC1575FD}" type="datetime1">
              <a:rPr lang="en-US" smtClean="0"/>
              <a:pPr/>
              <a:t>1/22/2024</a:t>
            </a:fld>
            <a:endParaRPr lang="en-US" dirty="0"/>
          </a:p>
        </p:txBody>
      </p:sp>
      <p:sp>
        <p:nvSpPr>
          <p:cNvPr id="5" name="Footer Placeholder 4">
            <a:extLst>
              <a:ext uri="{FF2B5EF4-FFF2-40B4-BE49-F238E27FC236}">
                <a16:creationId xmlns:a16="http://schemas.microsoft.com/office/drawing/2014/main" xmlns="" id="{4FE15BA4-9DA7-724F-8EC0-695948888F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1B575D79-B164-A94A-9F5D-872532B3A4DA}"/>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Rectangle 6" hidden="1">
            <a:extLst>
              <a:ext uri="{FF2B5EF4-FFF2-40B4-BE49-F238E27FC236}">
                <a16:creationId xmlns:a16="http://schemas.microsoft.com/office/drawing/2014/main" xmlns="" id="{8CEB951C-E846-4E05-9350-2D86FA13F8FA}"/>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xmlns=""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99612546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C58EE8-51DA-439F-8424-CB384B4374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A0E4FD04-ABE3-42D4-9E42-83FCD857202F}"/>
              </a:ext>
            </a:extLst>
          </p:cNvPr>
          <p:cNvSpPr>
            <a:spLocks noGrp="1"/>
          </p:cNvSpPr>
          <p:nvPr>
            <p:ph type="dt" sz="half" idx="10"/>
          </p:nvPr>
        </p:nvSpPr>
        <p:spPr/>
        <p:txBody>
          <a:bodyPr/>
          <a:lstStyle/>
          <a:p>
            <a:fld id="{497254A7-68A7-4FA0-A7D7-388FF6D39433}" type="datetimeFigureOut">
              <a:rPr lang="en-US" smtClean="0"/>
              <a:pPr/>
              <a:t>1/22/2024</a:t>
            </a:fld>
            <a:endParaRPr lang="en-US" dirty="0"/>
          </a:p>
        </p:txBody>
      </p:sp>
      <p:sp>
        <p:nvSpPr>
          <p:cNvPr id="4" name="Footer Placeholder 3">
            <a:extLst>
              <a:ext uri="{FF2B5EF4-FFF2-40B4-BE49-F238E27FC236}">
                <a16:creationId xmlns:a16="http://schemas.microsoft.com/office/drawing/2014/main" xmlns=""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xmlns="" id="{995B66EA-3775-4C5D-A804-019F66978B8C}"/>
              </a:ext>
            </a:extLst>
          </p:cNvPr>
          <p:cNvSpPr>
            <a:spLocks noGrp="1"/>
          </p:cNvSpPr>
          <p:nvPr>
            <p:ph type="sldNum" sz="quarter" idx="12"/>
          </p:nvPr>
        </p:nvSpPr>
        <p:spPr/>
        <p:txBody>
          <a:bodyPr/>
          <a:lstStyle/>
          <a:p>
            <a:fld id="{DBD016B5-0E78-4353-B3A0-49C8590702B9}" type="slidenum">
              <a:rPr lang="en-US" smtClean="0"/>
              <a:pPr/>
              <a:t>‹#›</a:t>
            </a:fld>
            <a:endParaRPr lang="en-US" dirty="0"/>
          </a:p>
        </p:txBody>
      </p:sp>
      <p:sp>
        <p:nvSpPr>
          <p:cNvPr id="10" name="Text Placeholder 9">
            <a:extLst>
              <a:ext uri="{FF2B5EF4-FFF2-40B4-BE49-F238E27FC236}">
                <a16:creationId xmlns:a16="http://schemas.microsoft.com/office/drawing/2014/main" xmlns=""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xmlns=""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5985277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xmlns=""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xmlns="" id="{C1F9908A-F45E-4536-A66F-C17019D0FB1B}"/>
              </a:ext>
            </a:extLst>
          </p:cNvPr>
          <p:cNvSpPr>
            <a:spLocks noGrp="1"/>
          </p:cNvSpPr>
          <p:nvPr>
            <p:ph sz="quarter" idx="11"/>
          </p:nvPr>
        </p:nvSpPr>
        <p:spPr>
          <a:xfrm>
            <a:off x="723900" y="1594023"/>
            <a:ext cx="10736263" cy="4620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xmlns="" id="{F3765AD5-5DCF-4357-911E-7ABA137D46F7}"/>
              </a:ext>
            </a:extLst>
          </p:cNvPr>
          <p:cNvSpPr>
            <a:spLocks noGrp="1"/>
          </p:cNvSpPr>
          <p:nvPr>
            <p:ph type="dt" sz="half" idx="12"/>
          </p:nvPr>
        </p:nvSpPr>
        <p:spPr/>
        <p:txBody>
          <a:bodyPr/>
          <a:lstStyle/>
          <a:p>
            <a:fld id="{0CA7E49E-8520-48E1-8F47-DB7F5A59BF68}" type="datetime1">
              <a:rPr lang="en-US" smtClean="0"/>
              <a:pPr/>
              <a:t>1/22/2024</a:t>
            </a:fld>
            <a:endParaRPr lang="en-US" dirty="0"/>
          </a:p>
        </p:txBody>
      </p:sp>
      <p:sp>
        <p:nvSpPr>
          <p:cNvPr id="9" name="Footer Placeholder 8">
            <a:extLst>
              <a:ext uri="{FF2B5EF4-FFF2-40B4-BE49-F238E27FC236}">
                <a16:creationId xmlns:a16="http://schemas.microsoft.com/office/drawing/2014/main" xmlns=""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xmlns=""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xmlns=""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xmlns="" val="278299837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xmlns="" id="{C125D503-6876-4453-9F66-C2CC403413C1}"/>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xmlns="" id="{F3765AD5-5DCF-4357-911E-7ABA137D46F7}"/>
              </a:ext>
            </a:extLst>
          </p:cNvPr>
          <p:cNvSpPr>
            <a:spLocks noGrp="1"/>
          </p:cNvSpPr>
          <p:nvPr>
            <p:ph type="dt" sz="half" idx="12"/>
          </p:nvPr>
        </p:nvSpPr>
        <p:spPr/>
        <p:txBody>
          <a:bodyPr/>
          <a:lstStyle/>
          <a:p>
            <a:fld id="{0CA7E49E-8520-48E1-8F47-DB7F5A59BF68}" type="datetime1">
              <a:rPr lang="en-US" smtClean="0"/>
              <a:pPr/>
              <a:t>1/22/2024</a:t>
            </a:fld>
            <a:endParaRPr lang="en-US" dirty="0"/>
          </a:p>
        </p:txBody>
      </p:sp>
      <p:sp>
        <p:nvSpPr>
          <p:cNvPr id="9" name="Footer Placeholder 8">
            <a:extLst>
              <a:ext uri="{FF2B5EF4-FFF2-40B4-BE49-F238E27FC236}">
                <a16:creationId xmlns:a16="http://schemas.microsoft.com/office/drawing/2014/main" xmlns=""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xmlns=""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xmlns=""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xmlns="" val="142886683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xmlns=""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xmlns="" id="{C1F9908A-F45E-4536-A66F-C17019D0FB1B}"/>
              </a:ext>
            </a:extLst>
          </p:cNvPr>
          <p:cNvSpPr>
            <a:spLocks noGrp="1"/>
          </p:cNvSpPr>
          <p:nvPr>
            <p:ph sz="quarter" idx="11"/>
          </p:nvPr>
        </p:nvSpPr>
        <p:spPr>
          <a:xfrm>
            <a:off x="723900" y="1594024"/>
            <a:ext cx="10736263" cy="41620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xmlns=""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xmlns="" id="{7CDC5C61-014B-44AC-BEC8-4673574A5BD7}"/>
              </a:ext>
            </a:extLst>
          </p:cNvPr>
          <p:cNvSpPr>
            <a:spLocks noGrp="1"/>
          </p:cNvSpPr>
          <p:nvPr>
            <p:ph type="dt" sz="half" idx="13"/>
          </p:nvPr>
        </p:nvSpPr>
        <p:spPr/>
        <p:txBody>
          <a:bodyPr/>
          <a:lstStyle/>
          <a:p>
            <a:fld id="{0CA7E49E-8520-48E1-8F47-DB7F5A59BF68}" type="datetime1">
              <a:rPr lang="en-US" smtClean="0"/>
              <a:pPr/>
              <a:t>1/22/2024</a:t>
            </a:fld>
            <a:endParaRPr lang="en-US" dirty="0"/>
          </a:p>
        </p:txBody>
      </p:sp>
      <p:sp>
        <p:nvSpPr>
          <p:cNvPr id="8" name="Footer Placeholder 7">
            <a:extLst>
              <a:ext uri="{FF2B5EF4-FFF2-40B4-BE49-F238E27FC236}">
                <a16:creationId xmlns:a16="http://schemas.microsoft.com/office/drawing/2014/main" xmlns=""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xmlns="" id="{86BB173D-9D21-4D8B-8CC4-23166ACB2E20}"/>
              </a:ext>
            </a:extLst>
          </p:cNvPr>
          <p:cNvSpPr>
            <a:spLocks noGrp="1"/>
          </p:cNvSpPr>
          <p:nvPr>
            <p:ph type="sldNum" sz="quarter" idx="15"/>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xmlns="" val="83108218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CEB4787D-6832-7F4C-9B09-AD04F6AF8FF3}"/>
              </a:ext>
            </a:extLst>
          </p:cNvPr>
          <p:cNvSpPr>
            <a:spLocks noGrp="1"/>
          </p:cNvSpPr>
          <p:nvPr>
            <p:ph type="dt" sz="half" idx="10"/>
          </p:nvPr>
        </p:nvSpPr>
        <p:spPr/>
        <p:txBody>
          <a:bodyPr/>
          <a:lstStyle/>
          <a:p>
            <a:fld id="{C51F7E7B-293E-4B5F-8863-9F9AB32DCF23}" type="datetime1">
              <a:rPr lang="en-US" smtClean="0"/>
              <a:pPr/>
              <a:t>1/22/2024</a:t>
            </a:fld>
            <a:endParaRPr lang="en-US" dirty="0"/>
          </a:p>
        </p:txBody>
      </p:sp>
      <p:sp>
        <p:nvSpPr>
          <p:cNvPr id="4" name="Footer Placeholder 3">
            <a:extLst>
              <a:ext uri="{FF2B5EF4-FFF2-40B4-BE49-F238E27FC236}">
                <a16:creationId xmlns:a16="http://schemas.microsoft.com/office/drawing/2014/main" xmlns=""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xmlns="" id="{63D4DE35-E35E-DB4E-85F2-587208CA69F3}"/>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6" name="Rectangle 5" hidden="1">
            <a:extLst>
              <a:ext uri="{FF2B5EF4-FFF2-40B4-BE49-F238E27FC236}">
                <a16:creationId xmlns:a16="http://schemas.microsoft.com/office/drawing/2014/main" xmlns="" id="{655C45BA-3E16-4DCE-B3EB-40CABD42A12D}"/>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35415214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CEB4787D-6832-7F4C-9B09-AD04F6AF8FF3}"/>
              </a:ext>
            </a:extLst>
          </p:cNvPr>
          <p:cNvSpPr>
            <a:spLocks noGrp="1"/>
          </p:cNvSpPr>
          <p:nvPr>
            <p:ph type="dt" sz="half" idx="10"/>
          </p:nvPr>
        </p:nvSpPr>
        <p:spPr/>
        <p:txBody>
          <a:bodyPr/>
          <a:lstStyle/>
          <a:p>
            <a:fld id="{C51F7E7B-293E-4B5F-8863-9F9AB32DCF23}" type="datetime1">
              <a:rPr lang="en-US" smtClean="0"/>
              <a:pPr/>
              <a:t>1/22/2024</a:t>
            </a:fld>
            <a:endParaRPr lang="en-US" dirty="0"/>
          </a:p>
        </p:txBody>
      </p:sp>
      <p:sp>
        <p:nvSpPr>
          <p:cNvPr id="4" name="Footer Placeholder 3">
            <a:extLst>
              <a:ext uri="{FF2B5EF4-FFF2-40B4-BE49-F238E27FC236}">
                <a16:creationId xmlns:a16="http://schemas.microsoft.com/office/drawing/2014/main" xmlns=""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xmlns="" id="{63D4DE35-E35E-DB4E-85F2-587208CA69F3}"/>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6" name="Rectangle 5" hidden="1">
            <a:extLst>
              <a:ext uri="{FF2B5EF4-FFF2-40B4-BE49-F238E27FC236}">
                <a16:creationId xmlns:a16="http://schemas.microsoft.com/office/drawing/2014/main" xmlns="" id="{655C45BA-3E16-4DCE-B3EB-40CABD42A12D}"/>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9">
            <a:extLst>
              <a:ext uri="{FF2B5EF4-FFF2-40B4-BE49-F238E27FC236}">
                <a16:creationId xmlns:a16="http://schemas.microsoft.com/office/drawing/2014/main" xmlns=""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xmlns="" val="347559807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4" name="Content Placeholder 3">
            <a:extLst>
              <a:ext uri="{FF2B5EF4-FFF2-40B4-BE49-F238E27FC236}">
                <a16:creationId xmlns:a16="http://schemas.microsoft.com/office/drawing/2014/main" xmlns="" id="{53E423E8-A085-594A-8DB0-B04EE30ADC4D}"/>
              </a:ext>
            </a:extLst>
          </p:cNvPr>
          <p:cNvSpPr>
            <a:spLocks noGrp="1"/>
          </p:cNvSpPr>
          <p:nvPr>
            <p:ph sz="half" idx="2"/>
          </p:nvPr>
        </p:nvSpPr>
        <p:spPr>
          <a:xfrm>
            <a:off x="726569"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xmlns=""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6" name="Content Placeholder 5">
            <a:extLst>
              <a:ext uri="{FF2B5EF4-FFF2-40B4-BE49-F238E27FC236}">
                <a16:creationId xmlns:a16="http://schemas.microsoft.com/office/drawing/2014/main" xmlns="" id="{FA9BD7FE-E79D-8C4D-8814-8B397878DBF5}"/>
              </a:ext>
            </a:extLst>
          </p:cNvPr>
          <p:cNvSpPr>
            <a:spLocks noGrp="1"/>
          </p:cNvSpPr>
          <p:nvPr>
            <p:ph sz="quarter" idx="4"/>
          </p:nvPr>
        </p:nvSpPr>
        <p:spPr>
          <a:xfrm>
            <a:off x="6187631"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xmlns="" id="{747A3AA7-B6AF-F040-9CFC-AF513FBC68DF}"/>
              </a:ext>
            </a:extLst>
          </p:cNvPr>
          <p:cNvSpPr>
            <a:spLocks noGrp="1"/>
          </p:cNvSpPr>
          <p:nvPr>
            <p:ph type="dt" sz="half" idx="10"/>
          </p:nvPr>
        </p:nvSpPr>
        <p:spPr/>
        <p:txBody>
          <a:bodyPr/>
          <a:lstStyle/>
          <a:p>
            <a:fld id="{54837CB5-678C-49D9-AAD0-CEAADF85A933}" type="datetime1">
              <a:rPr lang="en-US" smtClean="0"/>
              <a:pPr/>
              <a:t>1/22/2024</a:t>
            </a:fld>
            <a:endParaRPr lang="en-US" dirty="0"/>
          </a:p>
        </p:txBody>
      </p:sp>
      <p:sp>
        <p:nvSpPr>
          <p:cNvPr id="8" name="Footer Placeholder 7">
            <a:extLst>
              <a:ext uri="{FF2B5EF4-FFF2-40B4-BE49-F238E27FC236}">
                <a16:creationId xmlns:a16="http://schemas.microsoft.com/office/drawing/2014/main" xmlns="" id="{70C5EF70-7E06-D24A-9577-EFEF1CCFECA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xmlns="" id="{5F9B6EAC-EAE4-D54B-89FA-D3C309D978F8}"/>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10" name="Title 9">
            <a:extLst>
              <a:ext uri="{FF2B5EF4-FFF2-40B4-BE49-F238E27FC236}">
                <a16:creationId xmlns:a16="http://schemas.microsoft.com/office/drawing/2014/main" xmlns="" id="{94433DBB-F96C-4821-AF9A-C30C09039B1E}"/>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xmlns="" id="{B9BA8268-5A7D-424D-A57A-7813D1343759}"/>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397819659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E0177D9A-72FE-46B9-AEBD-B5A3F8C28AB8}"/>
              </a:ext>
            </a:extLst>
          </p:cNvPr>
          <p:cNvSpPr/>
          <p:nvPr/>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343" dirty="0"/>
          </a:p>
        </p:txBody>
      </p:sp>
      <p:sp>
        <p:nvSpPr>
          <p:cNvPr id="2" name="Title Placeholder 1">
            <a:extLst>
              <a:ext uri="{FF2B5EF4-FFF2-40B4-BE49-F238E27FC236}">
                <a16:creationId xmlns:a16="http://schemas.microsoft.com/office/drawing/2014/main" xmlns=""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xmlns=""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8DE3D802-031F-4C40-A68B-5D313F9463B9}" type="datetimeFigureOut">
              <a:rPr lang="en-US" smtClean="0"/>
              <a:pPr/>
              <a:t>1/22/2024</a:t>
            </a:fld>
            <a:endParaRPr lang="en-US" dirty="0"/>
          </a:p>
        </p:txBody>
      </p:sp>
      <p:sp>
        <p:nvSpPr>
          <p:cNvPr id="5" name="Footer Placeholder 4">
            <a:extLst>
              <a:ext uri="{FF2B5EF4-FFF2-40B4-BE49-F238E27FC236}">
                <a16:creationId xmlns:a16="http://schemas.microsoft.com/office/drawing/2014/main" xmlns=""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xmlns=""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3BA84AC-B9E4-40E9-9BA1-1F5AC87948FE}" type="slidenum">
              <a:rPr lang="en-US" smtClean="0"/>
              <a:pPr/>
              <a:t>‹#›</a:t>
            </a:fld>
            <a:endParaRPr lang="en-US" dirty="0"/>
          </a:p>
        </p:txBody>
      </p:sp>
      <p:pic>
        <p:nvPicPr>
          <p:cNvPr id="17" name="Picture 16">
            <a:extLst>
              <a:ext uri="{FF2B5EF4-FFF2-40B4-BE49-F238E27FC236}">
                <a16:creationId xmlns:a16="http://schemas.microsoft.com/office/drawing/2014/main" xmlns="" id="{69842886-E591-4C2B-B61D-2C79206FA1DC}"/>
              </a:ext>
            </a:extLst>
          </p:cNvPr>
          <p:cNvPicPr>
            <a:picLocks noChangeAspect="1"/>
          </p:cNvPicPr>
          <p:nvPr/>
        </p:nvPicPr>
        <p:blipFill>
          <a:blip r:embed="rId21">
            <a:extLst>
              <a:ext uri="{96DAC541-7B7A-43D3-8B79-37D633B846F1}">
                <asvg:svgBlip xmlns="" xmlns:asvg="http://schemas.microsoft.com/office/drawing/2016/SVG/main" r:embed="rId22"/>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xmlns="" id="{5EC7EF95-615C-41BB-A2AA-2C599AE68A6C}"/>
              </a:ext>
            </a:extLst>
          </p:cNvPr>
          <p:cNvSpPr/>
          <p:nvPr>
            <p:custDataLst>
              <p:tags r:id="rId20"/>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Tree>
    <p:extLst>
      <p:ext uri="{BB962C8B-B14F-4D97-AF65-F5344CB8AC3E}">
        <p14:creationId xmlns:p14="http://schemas.microsoft.com/office/powerpoint/2010/main" xmlns="" val="1918201502"/>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0.xml"/><Relationship Id="rId7" Type="http://schemas.openxmlformats.org/officeDocument/2006/relationships/diagramColors" Target="../diagrams/colors2.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2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ww.medscape.com/viewarticle/753598" TargetMode="External"/><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7.jpeg"/><Relationship Id="rId4" Type="http://schemas.openxmlformats.org/officeDocument/2006/relationships/hyperlink" Target="mailto:Jacqueline.Clarke@medpro.co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slideLayout" Target="../slideLayouts/slideLayout2.xml"/><Relationship Id="rId7" Type="http://schemas.openxmlformats.org/officeDocument/2006/relationships/diagramQuickStyle" Target="../diagrams/quickStyle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diagramLayout" Target="../diagrams/layout4.xml"/><Relationship Id="rId5" Type="http://schemas.openxmlformats.org/officeDocument/2006/relationships/diagramData" Target="../diagrams/data4.xml"/><Relationship Id="rId10" Type="http://schemas.openxmlformats.org/officeDocument/2006/relationships/image" Target="../media/image10.png"/><Relationship Id="rId4" Type="http://schemas.openxmlformats.org/officeDocument/2006/relationships/notesSlide" Target="../notesSlides/notesSlide17.xml"/><Relationship Id="rId9" Type="http://schemas.microsoft.com/office/2007/relationships/diagramDrawing" Target="../diagrams/drawing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20.xml"/><Relationship Id="rId7" Type="http://schemas.openxmlformats.org/officeDocument/2006/relationships/diagramColors" Target="../diagrams/colors5.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21.xml"/><Relationship Id="rId7" Type="http://schemas.openxmlformats.org/officeDocument/2006/relationships/diagramColors" Target="../diagrams/colors6.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1.png"/></Relationships>
</file>

<file path=ppt/slides/_rels/slide26.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22.xml"/><Relationship Id="rId7" Type="http://schemas.openxmlformats.org/officeDocument/2006/relationships/diagramColors" Target="../diagrams/colors7.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7.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23.xml"/><Relationship Id="rId7" Type="http://schemas.openxmlformats.org/officeDocument/2006/relationships/diagramColors" Target="../diagrams/colors8.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 Id="rId9"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slideLayout" Target="../slideLayouts/slideLayout2.xml"/><Relationship Id="rId7" Type="http://schemas.openxmlformats.org/officeDocument/2006/relationships/diagramQuickStyle" Target="../diagrams/quickStyle9.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diagramLayout" Target="../diagrams/layout9.xml"/><Relationship Id="rId5" Type="http://schemas.openxmlformats.org/officeDocument/2006/relationships/diagramData" Target="../diagrams/data9.xml"/><Relationship Id="rId10" Type="http://schemas.openxmlformats.org/officeDocument/2006/relationships/image" Target="../media/image10.png"/><Relationship Id="rId4" Type="http://schemas.openxmlformats.org/officeDocument/2006/relationships/notesSlide" Target="../notesSlides/notesSlide26.xml"/><Relationship Id="rId9" Type="http://schemas.microsoft.com/office/2007/relationships/diagramDrawing" Target="../diagrams/drawing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ags" Target="../tags/tag3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5.xml"/><Relationship Id="rId1" Type="http://schemas.openxmlformats.org/officeDocument/2006/relationships/tags" Target="../tags/tag3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5.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slideLayout" Target="../slideLayouts/slideLayout2.xml"/><Relationship Id="rId7" Type="http://schemas.openxmlformats.org/officeDocument/2006/relationships/diagramQuickStyle" Target="../diagrams/quickStyle1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diagramLayout" Target="../diagrams/layout14.xml"/><Relationship Id="rId5" Type="http://schemas.openxmlformats.org/officeDocument/2006/relationships/diagramData" Target="../diagrams/data14.xml"/><Relationship Id="rId10" Type="http://schemas.openxmlformats.org/officeDocument/2006/relationships/image" Target="../media/image10.png"/><Relationship Id="rId4" Type="http://schemas.openxmlformats.org/officeDocument/2006/relationships/notesSlide" Target="../notesSlides/notesSlide33.xml"/><Relationship Id="rId9" Type="http://schemas.microsoft.com/office/2007/relationships/diagramDrawing" Target="../diagrams/drawing14.xml"/></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slideLayout" Target="../slideLayouts/slideLayout2.xml"/><Relationship Id="rId7" Type="http://schemas.openxmlformats.org/officeDocument/2006/relationships/diagramQuickStyle" Target="../diagrams/quickStyle1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diagramLayout" Target="../diagrams/layout15.xml"/><Relationship Id="rId5" Type="http://schemas.openxmlformats.org/officeDocument/2006/relationships/diagramData" Target="../diagrams/data15.xml"/><Relationship Id="rId10" Type="http://schemas.openxmlformats.org/officeDocument/2006/relationships/image" Target="../media/image10.png"/><Relationship Id="rId4" Type="http://schemas.openxmlformats.org/officeDocument/2006/relationships/notesSlide" Target="../notesSlides/notesSlide34.xml"/><Relationship Id="rId9" Type="http://schemas.microsoft.com/office/2007/relationships/diagramDrawing" Target="../diagrams/drawing15.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40.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8.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mailto:dental@medpro.com" TargetMode="External"/><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25.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2.xml"/><Relationship Id="rId7" Type="http://schemas.openxmlformats.org/officeDocument/2006/relationships/diagramQuickStyle" Target="../diagrams/quickStyle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0.png"/><Relationship Id="rId4" Type="http://schemas.openxmlformats.org/officeDocument/2006/relationships/notesSlide" Target="../notesSlides/notesSlide6.xml"/><Relationship Id="rId9"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6600" y="1364718"/>
            <a:ext cx="10710333" cy="1859147"/>
          </a:xfrm>
        </p:spPr>
        <p:txBody>
          <a:bodyPr/>
          <a:lstStyle/>
          <a:p>
            <a:r>
              <a:rPr lang="en-US" sz="4800" dirty="0" smtClean="0"/>
              <a:t>Disasters in Dentistry</a:t>
            </a:r>
            <a:endParaRPr lang="en-US" sz="4800" dirty="0"/>
          </a:p>
        </p:txBody>
      </p:sp>
      <p:sp>
        <p:nvSpPr>
          <p:cNvPr id="3" name="Rectangle 2"/>
          <p:cNvSpPr/>
          <p:nvPr/>
        </p:nvSpPr>
        <p:spPr>
          <a:xfrm>
            <a:off x="1188720" y="3272179"/>
            <a:ext cx="9652213" cy="523220"/>
          </a:xfrm>
          <a:prstGeom prst="rect">
            <a:avLst/>
          </a:prstGeom>
        </p:spPr>
        <p:txBody>
          <a:bodyPr wrap="square">
            <a:spAutoFit/>
          </a:bodyPr>
          <a:lstStyle/>
          <a:p>
            <a:pPr algn="ctr"/>
            <a:r>
              <a:rPr lang="en-US" sz="2800" dirty="0" smtClean="0">
                <a:solidFill>
                  <a:schemeClr val="bg1"/>
                </a:solidFill>
              </a:rPr>
              <a:t>What to do when the unthinkable happens</a:t>
            </a:r>
            <a:endParaRPr lang="en-US" sz="2800" dirty="0">
              <a:solidFill>
                <a:schemeClr val="bg1"/>
              </a:solidFill>
            </a:endParaRPr>
          </a:p>
        </p:txBody>
      </p:sp>
      <p:sp>
        <p:nvSpPr>
          <p:cNvPr id="5" name="Rectangle 4"/>
          <p:cNvSpPr/>
          <p:nvPr/>
        </p:nvSpPr>
        <p:spPr>
          <a:xfrm>
            <a:off x="1757891" y="4264247"/>
            <a:ext cx="8667750" cy="369332"/>
          </a:xfrm>
          <a:prstGeom prst="rect">
            <a:avLst/>
          </a:prstGeom>
        </p:spPr>
        <p:txBody>
          <a:bodyPr wrap="square">
            <a:spAutoFit/>
          </a:bodyPr>
          <a:lstStyle/>
          <a:p>
            <a:pPr algn="ctr"/>
            <a:r>
              <a:rPr lang="en-US" dirty="0" smtClean="0">
                <a:solidFill>
                  <a:schemeClr val="bg1"/>
                </a:solidFill>
              </a:rPr>
              <a:t>January 21, 2024</a:t>
            </a:r>
            <a:endParaRPr lang="en-US" dirty="0">
              <a:solidFill>
                <a:schemeClr val="bg1"/>
              </a:solidFill>
            </a:endParaRPr>
          </a:p>
        </p:txBody>
      </p:sp>
    </p:spTree>
    <p:extLst>
      <p:ext uri="{BB962C8B-B14F-4D97-AF65-F5344CB8AC3E}">
        <p14:creationId xmlns:p14="http://schemas.microsoft.com/office/powerpoint/2010/main" xmlns="" val="3072501089"/>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709743"/>
          </a:xfrm>
        </p:spPr>
        <p:txBody>
          <a:bodyPr lIns="91440" tIns="45720" rIns="91440" bIns="45720" anchor="ctr">
            <a:normAutofit/>
          </a:bodyPr>
          <a:lstStyle/>
          <a:p>
            <a:r>
              <a:rPr lang="en-US" dirty="0" smtClean="0">
                <a:solidFill>
                  <a:srgbClr val="002F6B"/>
                </a:solidFill>
                <a:latin typeface="Arial" panose="020B0604020202020204" pitchFamily="34" charset="0"/>
              </a:rPr>
              <a:t>Reasons for Today's Malpractice Environment</a:t>
            </a:r>
            <a:endParaRPr lang="en-US" dirty="0">
              <a:solidFill>
                <a:srgbClr val="002F6B"/>
              </a:solidFill>
              <a:latin typeface="Arial" panose="020B0604020202020204" pitchFamily="34" charset="0"/>
            </a:endParaRPr>
          </a:p>
        </p:txBody>
      </p:sp>
      <p:graphicFrame>
        <p:nvGraphicFramePr>
          <p:cNvPr id="5" name="Diagram 4"/>
          <p:cNvGraphicFramePr/>
          <p:nvPr>
            <p:extLst>
              <p:ext uri="{D42A27DB-BD31-4B8C-83A1-F6EECF244321}">
                <p14:modId xmlns:p14="http://schemas.microsoft.com/office/powerpoint/2010/main" xmlns="" val="1399449350"/>
              </p:ext>
            </p:extLst>
          </p:nvPr>
        </p:nvGraphicFramePr>
        <p:xfrm>
          <a:off x="676305" y="1028088"/>
          <a:ext cx="10152562" cy="53134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p:cNvSpPr>
            <a:spLocks noGrp="1"/>
          </p:cNvSpPr>
          <p:nvPr>
            <p:ph type="sldNum" sz="quarter" idx="12"/>
          </p:nvPr>
        </p:nvSpPr>
        <p:spPr/>
        <p:txBody>
          <a:bodyPr/>
          <a:lstStyle/>
          <a:p>
            <a:fld id="{DA135043-C596-1A48-8BDA-03EB29A64DF4}" type="slidenum">
              <a:rPr lang="en-US" smtClean="0"/>
              <a:pPr/>
              <a:t>10</a:t>
            </a:fld>
            <a:endParaRPr lang="en-US" dirty="0"/>
          </a:p>
        </p:txBody>
      </p:sp>
    </p:spTree>
    <p:custDataLst>
      <p:tags r:id="rId1"/>
    </p:custDataLst>
    <p:extLst>
      <p:ext uri="{BB962C8B-B14F-4D97-AF65-F5344CB8AC3E}">
        <p14:creationId xmlns:p14="http://schemas.microsoft.com/office/powerpoint/2010/main" xmlns="" val="988032926"/>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ey Definitions</a:t>
            </a:r>
            <a:endParaRPr lang="en-US" dirty="0"/>
          </a:p>
        </p:txBody>
      </p:sp>
    </p:spTree>
    <p:custDataLst>
      <p:tags r:id="rId1"/>
    </p:custDataLst>
    <p:extLst>
      <p:ext uri="{BB962C8B-B14F-4D97-AF65-F5344CB8AC3E}">
        <p14:creationId xmlns:p14="http://schemas.microsoft.com/office/powerpoint/2010/main" xmlns="" val="811182531"/>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fessional Malpractice—Definition</a:t>
            </a:r>
          </a:p>
        </p:txBody>
      </p:sp>
      <p:sp>
        <p:nvSpPr>
          <p:cNvPr id="3" name="Slide Number Placeholder 2"/>
          <p:cNvSpPr>
            <a:spLocks noGrp="1"/>
          </p:cNvSpPr>
          <p:nvPr>
            <p:ph type="sldNum" sz="quarter" idx="12"/>
          </p:nvPr>
        </p:nvSpPr>
        <p:spPr/>
        <p:txBody>
          <a:bodyPr/>
          <a:lstStyle/>
          <a:p>
            <a:fld id="{DA135043-C596-1A48-8BDA-03EB29A64DF4}" type="slidenum">
              <a:rPr lang="en-US" smtClean="0"/>
              <a:pPr/>
              <a:t>12</a:t>
            </a:fld>
            <a:endParaRPr lang="en-US" dirty="0"/>
          </a:p>
        </p:txBody>
      </p:sp>
      <p:sp>
        <p:nvSpPr>
          <p:cNvPr id="4" name="Content Placeholder 3"/>
          <p:cNvSpPr>
            <a:spLocks noGrp="1"/>
          </p:cNvSpPr>
          <p:nvPr>
            <p:ph idx="1"/>
          </p:nvPr>
        </p:nvSpPr>
        <p:spPr/>
        <p:txBody>
          <a:bodyPr/>
          <a:lstStyle/>
          <a:p>
            <a:pPr marL="0" indent="0">
              <a:buNone/>
            </a:pPr>
            <a:endParaRPr lang="en-US" sz="2600" dirty="0" smtClean="0"/>
          </a:p>
          <a:p>
            <a:pPr marL="0" indent="0" algn="just">
              <a:buNone/>
            </a:pPr>
            <a:r>
              <a:rPr lang="en-US" sz="2600" dirty="0" smtClean="0"/>
              <a:t>When </a:t>
            </a:r>
            <a:r>
              <a:rPr lang="en-US" sz="2600" dirty="0"/>
              <a:t>a medical professional provides care that diverges from what is accepted as the </a:t>
            </a:r>
            <a:r>
              <a:rPr lang="en-US" sz="2600" u="sng" dirty="0"/>
              <a:t>standard of care </a:t>
            </a:r>
            <a:r>
              <a:rPr lang="en-US" sz="2600" dirty="0"/>
              <a:t>as recognized by the medical community, which directly </a:t>
            </a:r>
            <a:r>
              <a:rPr lang="en-US" sz="2600" u="sng" dirty="0"/>
              <a:t>causes</a:t>
            </a:r>
            <a:r>
              <a:rPr lang="en-US" sz="2600" dirty="0"/>
              <a:t> </a:t>
            </a:r>
            <a:r>
              <a:rPr lang="en-US" sz="2600" u="sng" dirty="0"/>
              <a:t>damages</a:t>
            </a:r>
            <a:r>
              <a:rPr lang="en-US" sz="2600" dirty="0"/>
              <a:t>.</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428162" y="1933545"/>
            <a:ext cx="9342977" cy="4671489"/>
          </a:xfrm>
          <a:prstGeom prst="rect">
            <a:avLst/>
          </a:prstGeom>
        </p:spPr>
      </p:pic>
    </p:spTree>
    <p:extLst>
      <p:ext uri="{BB962C8B-B14F-4D97-AF65-F5344CB8AC3E}">
        <p14:creationId xmlns:p14="http://schemas.microsoft.com/office/powerpoint/2010/main" xmlns="" val="8422338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or What Determines the Standard of Care?</a:t>
            </a:r>
          </a:p>
        </p:txBody>
      </p:sp>
      <p:sp>
        <p:nvSpPr>
          <p:cNvPr id="3" name="Slide Number Placeholder 2"/>
          <p:cNvSpPr>
            <a:spLocks noGrp="1"/>
          </p:cNvSpPr>
          <p:nvPr>
            <p:ph type="sldNum" sz="quarter" idx="12"/>
          </p:nvPr>
        </p:nvSpPr>
        <p:spPr/>
        <p:txBody>
          <a:bodyPr/>
          <a:lstStyle/>
          <a:p>
            <a:fld id="{DA135043-C596-1A48-8BDA-03EB29A64DF4}" type="slidenum">
              <a:rPr lang="en-US" smtClean="0"/>
              <a:pPr/>
              <a:t>13</a:t>
            </a:fld>
            <a:endParaRPr lang="en-US" dirty="0"/>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xmlns="" val="0"/>
              </a:ext>
            </a:extLst>
          </a:blip>
          <a:stretch>
            <a:fillRect/>
          </a:stretch>
        </p:blipFill>
        <p:spPr>
          <a:xfrm>
            <a:off x="2930248" y="141306"/>
            <a:ext cx="6027098" cy="6027098"/>
          </a:xfrm>
          <a:prstGeom prst="rect">
            <a:avLst/>
          </a:prstGeom>
        </p:spPr>
      </p:pic>
    </p:spTree>
    <p:extLst>
      <p:ext uri="{BB962C8B-B14F-4D97-AF65-F5344CB8AC3E}">
        <p14:creationId xmlns:p14="http://schemas.microsoft.com/office/powerpoint/2010/main" xmlns="" val="37632374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formed Consent</a:t>
            </a:r>
            <a:br>
              <a:rPr lang="en-US" dirty="0" smtClean="0"/>
            </a:br>
            <a:r>
              <a:rPr lang="en-US" b="0" i="1" dirty="0" smtClean="0"/>
              <a:t>[or lack thereof]</a:t>
            </a:r>
            <a:endParaRPr lang="en-US" b="0" i="1" dirty="0"/>
          </a:p>
        </p:txBody>
      </p:sp>
    </p:spTree>
    <p:custDataLst>
      <p:tags r:id="rId1"/>
    </p:custDataLst>
    <p:extLst>
      <p:ext uri="{BB962C8B-B14F-4D97-AF65-F5344CB8AC3E}">
        <p14:creationId xmlns:p14="http://schemas.microsoft.com/office/powerpoint/2010/main" xmlns="" val="2792145778"/>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ormed Consent Error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15</a:t>
            </a:fld>
            <a:endParaRPr lang="en-US" dirty="0"/>
          </a:p>
        </p:txBody>
      </p:sp>
      <p:sp>
        <p:nvSpPr>
          <p:cNvPr id="10" name="TextBox 9"/>
          <p:cNvSpPr txBox="1"/>
          <p:nvPr/>
        </p:nvSpPr>
        <p:spPr>
          <a:xfrm>
            <a:off x="414731" y="1607673"/>
            <a:ext cx="8780443" cy="1172629"/>
          </a:xfrm>
          <a:prstGeom prst="rect">
            <a:avLst/>
          </a:prstGeom>
          <a:noFill/>
        </p:spPr>
        <p:txBody>
          <a:bodyPr wrap="square" rtlCol="0">
            <a:spAutoFit/>
          </a:bodyPr>
          <a:lstStyle/>
          <a:p>
            <a:pPr marL="457200" indent="-457200" algn="l">
              <a:lnSpc>
                <a:spcPct val="90000"/>
              </a:lnSpc>
              <a:buFont typeface="Arial" panose="020B0604020202020204" pitchFamily="34" charset="0"/>
              <a:buChar char="•"/>
            </a:pPr>
            <a:r>
              <a:rPr lang="en-US" sz="2600" dirty="0" smtClean="0">
                <a:solidFill>
                  <a:schemeClr val="tx2"/>
                </a:solidFill>
              </a:rPr>
              <a:t>Poor Communication </a:t>
            </a:r>
          </a:p>
          <a:p>
            <a:pPr marL="457200" indent="-457200" algn="l">
              <a:lnSpc>
                <a:spcPct val="90000"/>
              </a:lnSpc>
              <a:buFont typeface="Arial" panose="020B0604020202020204" pitchFamily="34" charset="0"/>
              <a:buChar char="•"/>
            </a:pPr>
            <a:r>
              <a:rPr lang="en-US" sz="2600" dirty="0" smtClean="0">
                <a:solidFill>
                  <a:schemeClr val="tx2"/>
                </a:solidFill>
              </a:rPr>
              <a:t>Clerical Error</a:t>
            </a:r>
          </a:p>
          <a:p>
            <a:pPr marL="457200" indent="-457200" algn="l">
              <a:lnSpc>
                <a:spcPct val="90000"/>
              </a:lnSpc>
              <a:buFont typeface="Arial" panose="020B0604020202020204" pitchFamily="34" charset="0"/>
              <a:buChar char="•"/>
            </a:pPr>
            <a:r>
              <a:rPr lang="en-US" sz="2600" dirty="0" smtClean="0">
                <a:solidFill>
                  <a:schemeClr val="tx2"/>
                </a:solidFill>
              </a:rPr>
              <a:t>Patient Selection</a:t>
            </a:r>
            <a:endParaRPr lang="en-US" sz="2600" dirty="0">
              <a:solidFill>
                <a:schemeClr val="tx2"/>
              </a:solidFill>
            </a:endParaRPr>
          </a:p>
        </p:txBody>
      </p:sp>
      <p:sp>
        <p:nvSpPr>
          <p:cNvPr id="5" name="Rectangle 4"/>
          <p:cNvSpPr/>
          <p:nvPr/>
        </p:nvSpPr>
        <p:spPr>
          <a:xfrm>
            <a:off x="-301449" y="3731178"/>
            <a:ext cx="12266077" cy="1692771"/>
          </a:xfrm>
          <a:prstGeom prst="rect">
            <a:avLst/>
          </a:prstGeom>
        </p:spPr>
        <p:txBody>
          <a:bodyPr wrap="square">
            <a:spAutoFit/>
          </a:bodyPr>
          <a:lstStyle/>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disclose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particular risks of the procedure</a:t>
            </a:r>
            <a:r>
              <a:rPr lang="en-US" altLang="en-US" sz="2600" dirty="0" smtClean="0">
                <a:solidFill>
                  <a:schemeClr val="tx2"/>
                </a:solidFill>
                <a:latin typeface="+mj-lt"/>
                <a:ea typeface="Trebuchet MS" panose="020B0703020202090204" pitchFamily="34" charset="0"/>
                <a:cs typeface="Trebuchet MS" panose="020B0703020202090204" pitchFamily="34" charset="0"/>
              </a:rPr>
              <a:t>;</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tailor consent to the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individual patient</a:t>
            </a: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advise patient of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alternatives</a:t>
            </a:r>
            <a:r>
              <a:rPr lang="en-US" altLang="en-US" sz="2600" dirty="0" smtClean="0">
                <a:solidFill>
                  <a:schemeClr val="tx2"/>
                </a:solidFill>
                <a:latin typeface="+mj-lt"/>
                <a:ea typeface="Trebuchet MS" panose="020B0703020202090204" pitchFamily="34" charset="0"/>
                <a:cs typeface="Trebuchet MS" panose="020B0703020202090204" pitchFamily="34" charset="0"/>
              </a:rPr>
              <a:t> to treatment (</a:t>
            </a:r>
            <a:r>
              <a:rPr lang="en-US" altLang="en-US" sz="2000" dirty="0" smtClean="0">
                <a:solidFill>
                  <a:schemeClr val="tx2"/>
                </a:solidFill>
                <a:latin typeface="+mj-lt"/>
                <a:ea typeface="Trebuchet MS" panose="020B0703020202090204" pitchFamily="34" charset="0"/>
                <a:cs typeface="Trebuchet MS" panose="020B0703020202090204" pitchFamily="34" charset="0"/>
              </a:rPr>
              <a:t>e.g. RCT vs Extraction</a:t>
            </a: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Clerical error—getting consent for the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wrong</a:t>
            </a:r>
            <a:r>
              <a:rPr lang="en-US" altLang="en-US" sz="2600" dirty="0" smtClean="0">
                <a:solidFill>
                  <a:schemeClr val="tx2"/>
                </a:solidFill>
                <a:latin typeface="+mj-lt"/>
                <a:ea typeface="Trebuchet MS" panose="020B0703020202090204" pitchFamily="34" charset="0"/>
                <a:cs typeface="Trebuchet MS" panose="020B0703020202090204" pitchFamily="34" charset="0"/>
              </a:rPr>
              <a:t> patient or procedure</a:t>
            </a:r>
            <a:endParaRPr lang="en-US" altLang="en-US" sz="2600" dirty="0">
              <a:solidFill>
                <a:schemeClr val="tx2"/>
              </a:solidFill>
              <a:latin typeface="+mj-lt"/>
              <a:ea typeface="Trebuchet MS" panose="020B0703020202090204" pitchFamily="34" charset="0"/>
              <a:cs typeface="Trebuchet MS" panose="020B0703020202090204" pitchFamily="34" charset="0"/>
            </a:endParaRPr>
          </a:p>
        </p:txBody>
      </p:sp>
      <p:sp>
        <p:nvSpPr>
          <p:cNvPr id="11" name="Rounded Rectangle 10"/>
          <p:cNvSpPr/>
          <p:nvPr/>
        </p:nvSpPr>
        <p:spPr>
          <a:xfrm>
            <a:off x="353613" y="935028"/>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Occurs due to: </a:t>
            </a:r>
            <a:endParaRPr lang="en-US" sz="2400" dirty="0">
              <a:solidFill>
                <a:schemeClr val="bg1"/>
              </a:solidFill>
            </a:endParaRPr>
          </a:p>
        </p:txBody>
      </p:sp>
      <p:sp>
        <p:nvSpPr>
          <p:cNvPr id="12" name="Rounded Rectangle 11"/>
          <p:cNvSpPr/>
          <p:nvPr/>
        </p:nvSpPr>
        <p:spPr>
          <a:xfrm>
            <a:off x="353613" y="3023283"/>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Examples:</a:t>
            </a:r>
            <a:endParaRPr lang="en-US" sz="2400" dirty="0">
              <a:solidFill>
                <a:schemeClr val="bg1"/>
              </a:solidFill>
            </a:endParaRPr>
          </a:p>
        </p:txBody>
      </p:sp>
    </p:spTree>
    <p:extLst>
      <p:ext uri="{BB962C8B-B14F-4D97-AF65-F5344CB8AC3E}">
        <p14:creationId xmlns:p14="http://schemas.microsoft.com/office/powerpoint/2010/main" xmlns="" val="11797840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Disclosures + The Informed Consent Discussion</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16</a:t>
            </a:fld>
            <a:endParaRPr lang="en-US" dirty="0"/>
          </a:p>
        </p:txBody>
      </p:sp>
      <p:grpSp>
        <p:nvGrpSpPr>
          <p:cNvPr id="5" name="Group 4"/>
          <p:cNvGrpSpPr/>
          <p:nvPr/>
        </p:nvGrpSpPr>
        <p:grpSpPr>
          <a:xfrm>
            <a:off x="568578" y="861610"/>
            <a:ext cx="6934534" cy="5162314"/>
            <a:chOff x="0" y="722631"/>
            <a:chExt cx="6934534" cy="5162314"/>
          </a:xfrm>
        </p:grpSpPr>
        <p:sp>
          <p:nvSpPr>
            <p:cNvPr id="6" name="Rectangle 5"/>
            <p:cNvSpPr/>
            <p:nvPr/>
          </p:nvSpPr>
          <p:spPr>
            <a:xfrm>
              <a:off x="0" y="722631"/>
              <a:ext cx="6934534" cy="5162314"/>
            </a:xfrm>
            <a:prstGeom prst="rect">
              <a:avLst/>
            </a:pr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7" name="TextBox 6"/>
            <p:cNvSpPr txBox="1"/>
            <p:nvPr/>
          </p:nvSpPr>
          <p:spPr>
            <a:xfrm>
              <a:off x="0" y="722631"/>
              <a:ext cx="6934534" cy="516231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8197" tIns="124968" rIns="538197" bIns="128016" numCol="1" spcCol="1270" anchor="t" anchorCtr="0">
              <a:noAutofit/>
            </a:bodyPr>
            <a:lstStyle/>
            <a:p>
              <a:pPr marL="171450" lvl="1" indent="-171450" algn="just" defTabSz="800100">
                <a:lnSpc>
                  <a:spcPct val="100000"/>
                </a:lnSpc>
                <a:spcBef>
                  <a:spcPct val="0"/>
                </a:spcBef>
                <a:spcAft>
                  <a:spcPts val="1200"/>
                </a:spcAft>
                <a:buChar char="••"/>
              </a:pPr>
              <a:r>
                <a:rPr lang="en-US" altLang="en-US" sz="1800" kern="1200" dirty="0" smtClean="0">
                  <a:solidFill>
                    <a:schemeClr val="accent1"/>
                  </a:solidFill>
                  <a:ea typeface="Trebuchet MS" panose="020B0603020202020204" pitchFamily="34" charset="0"/>
                  <a:cs typeface="Trebuchet MS" panose="020B0603020202020204" pitchFamily="34" charset="0"/>
                </a:rPr>
                <a:t>The patient's </a:t>
              </a:r>
              <a:r>
                <a:rPr lang="en-US" altLang="en-US" sz="1800" b="1" kern="1200" dirty="0" smtClean="0">
                  <a:solidFill>
                    <a:schemeClr val="accent1"/>
                  </a:solidFill>
                  <a:ea typeface="Trebuchet MS" panose="020B0603020202020204" pitchFamily="34" charset="0"/>
                  <a:cs typeface="Trebuchet MS" panose="020B0603020202020204" pitchFamily="34" charset="0"/>
                </a:rPr>
                <a:t>current condition</a:t>
              </a:r>
              <a:r>
                <a:rPr lang="en-US" altLang="en-US" sz="1800" kern="1200" dirty="0" smtClean="0">
                  <a:solidFill>
                    <a:schemeClr val="accent1"/>
                  </a:solidFill>
                  <a:ea typeface="Trebuchet MS" panose="020B0603020202020204" pitchFamily="34" charset="0"/>
                  <a:cs typeface="Trebuchet MS" panose="020B0603020202020204" pitchFamily="34" charset="0"/>
                </a:rPr>
                <a:t>?</a:t>
              </a:r>
              <a:endParaRPr lang="en-US" sz="1800" kern="1200" dirty="0">
                <a:solidFill>
                  <a:schemeClr val="accent1"/>
                </a:solidFill>
              </a:endParaRPr>
            </a:p>
            <a:p>
              <a:pPr marL="171450" lvl="1" indent="-171450" algn="just" defTabSz="800100">
                <a:lnSpc>
                  <a:spcPct val="100000"/>
                </a:lnSpc>
                <a:spcBef>
                  <a:spcPct val="0"/>
                </a:spcBef>
                <a:spcAft>
                  <a:spcPts val="1200"/>
                </a:spcAft>
                <a:buChar char="••"/>
              </a:pPr>
              <a:r>
                <a:rPr lang="en-US" altLang="en-US" sz="1800" kern="1200" dirty="0" smtClean="0">
                  <a:solidFill>
                    <a:schemeClr val="accent1"/>
                  </a:solidFill>
                  <a:ea typeface="Trebuchet MS" panose="020B0603020202020204" pitchFamily="34" charset="0"/>
                  <a:cs typeface="Trebuchet MS" panose="020B0603020202020204" pitchFamily="34" charset="0"/>
                </a:rPr>
                <a:t>The proposed intervention / </a:t>
              </a:r>
              <a:r>
                <a:rPr lang="en-US" altLang="en-US" sz="1800" b="1" kern="1200" dirty="0" smtClean="0">
                  <a:solidFill>
                    <a:schemeClr val="accent1"/>
                  </a:solidFill>
                  <a:ea typeface="Trebuchet MS" panose="020B0603020202020204" pitchFamily="34" charset="0"/>
                  <a:cs typeface="Trebuchet MS" panose="020B0603020202020204" pitchFamily="34" charset="0"/>
                </a:rPr>
                <a:t>treatment options</a:t>
              </a:r>
              <a:r>
                <a:rPr lang="en-US" altLang="en-US" sz="1800" kern="1200" dirty="0" smtClean="0">
                  <a:solidFill>
                    <a:schemeClr val="accent1"/>
                  </a:solidFill>
                  <a:ea typeface="Trebuchet MS" panose="020B0603020202020204" pitchFamily="34" charset="0"/>
                  <a:cs typeface="Trebuchet MS" panose="020B0603020202020204" pitchFamily="34" charset="0"/>
                </a:rPr>
                <a:t>?</a:t>
              </a:r>
              <a:r>
                <a:rPr lang="en-US" sz="1800" kern="1200" dirty="0" smtClean="0">
                  <a:solidFill>
                    <a:schemeClr val="accent1"/>
                  </a:solidFill>
                </a:rPr>
                <a:t> (both in medical and layman’s terms)</a:t>
              </a:r>
              <a:endParaRPr lang="en-US" sz="1800" kern="1200" dirty="0">
                <a:solidFill>
                  <a:schemeClr val="accent1"/>
                </a:solidFill>
              </a:endParaRPr>
            </a:p>
            <a:p>
              <a:pPr marL="171450" lvl="1" indent="-171450" algn="just" defTabSz="800100">
                <a:lnSpc>
                  <a:spcPct val="100000"/>
                </a:lnSpc>
                <a:spcBef>
                  <a:spcPct val="0"/>
                </a:spcBef>
                <a:spcAft>
                  <a:spcPts val="1200"/>
                </a:spcAft>
                <a:buChar char="••"/>
              </a:pPr>
              <a:r>
                <a:rPr lang="en-US" sz="1800" kern="1200" dirty="0">
                  <a:solidFill>
                    <a:schemeClr val="accent1"/>
                  </a:solidFill>
                </a:rPr>
                <a:t>Explanation of </a:t>
              </a:r>
              <a:r>
                <a:rPr lang="en-US" sz="1800" kern="1200" dirty="0" smtClean="0">
                  <a:solidFill>
                    <a:schemeClr val="accent1"/>
                  </a:solidFill>
                </a:rPr>
                <a:t>the </a:t>
              </a:r>
              <a:r>
                <a:rPr lang="en-US" sz="1800" b="1" kern="1200" dirty="0" smtClean="0">
                  <a:solidFill>
                    <a:schemeClr val="accent1"/>
                  </a:solidFill>
                </a:rPr>
                <a:t>purpose </a:t>
              </a:r>
              <a:r>
                <a:rPr lang="en-US" sz="1800" b="0" kern="1200" dirty="0" smtClean="0">
                  <a:solidFill>
                    <a:schemeClr val="accent1"/>
                  </a:solidFill>
                </a:rPr>
                <a:t>of the</a:t>
              </a:r>
              <a:r>
                <a:rPr lang="en-US" sz="1800" kern="1200" dirty="0" smtClean="0">
                  <a:solidFill>
                    <a:schemeClr val="accent1"/>
                  </a:solidFill>
                </a:rPr>
                <a:t> procedure</a:t>
              </a:r>
              <a:endParaRPr lang="en-US" sz="1800" kern="1200" dirty="0">
                <a:solidFill>
                  <a:schemeClr val="accent1"/>
                </a:solidFill>
              </a:endParaRPr>
            </a:p>
            <a:p>
              <a:pPr marL="171450" lvl="1" indent="-171450" algn="just" defTabSz="800100">
                <a:lnSpc>
                  <a:spcPct val="100000"/>
                </a:lnSpc>
                <a:spcBef>
                  <a:spcPct val="0"/>
                </a:spcBef>
                <a:spcAft>
                  <a:spcPts val="1200"/>
                </a:spcAft>
                <a:buChar char="••"/>
              </a:pPr>
              <a:r>
                <a:rPr lang="en-US" sz="1800" kern="1200" dirty="0">
                  <a:solidFill>
                    <a:schemeClr val="accent1"/>
                  </a:solidFill>
                </a:rPr>
                <a:t>Important </a:t>
              </a:r>
              <a:r>
                <a:rPr lang="en-US" sz="1800" b="1" kern="1200" dirty="0">
                  <a:solidFill>
                    <a:schemeClr val="accent1"/>
                  </a:solidFill>
                </a:rPr>
                <a:t>risks</a:t>
              </a:r>
              <a:r>
                <a:rPr lang="en-US" sz="1800" kern="1200" dirty="0">
                  <a:solidFill>
                    <a:schemeClr val="accent1"/>
                  </a:solidFill>
                </a:rPr>
                <a:t> </a:t>
              </a:r>
              <a:r>
                <a:rPr lang="en-US" sz="1800" kern="1200" dirty="0" smtClean="0">
                  <a:solidFill>
                    <a:schemeClr val="accent1"/>
                  </a:solidFill>
                </a:rPr>
                <a:t>&amp; </a:t>
              </a:r>
              <a:r>
                <a:rPr lang="en-US" sz="1800" b="1" kern="1200" dirty="0">
                  <a:solidFill>
                    <a:schemeClr val="accent1"/>
                  </a:solidFill>
                </a:rPr>
                <a:t>benefits</a:t>
              </a:r>
              <a:r>
                <a:rPr lang="en-US" sz="1800" kern="1200" dirty="0">
                  <a:solidFill>
                    <a:schemeClr val="accent1"/>
                  </a:solidFill>
                </a:rPr>
                <a:t> (those </a:t>
              </a:r>
              <a:r>
                <a:rPr lang="en-US" sz="1800" kern="1200" dirty="0" smtClean="0">
                  <a:solidFill>
                    <a:schemeClr val="accent1"/>
                  </a:solidFill>
                </a:rPr>
                <a:t>the </a:t>
              </a:r>
              <a:r>
                <a:rPr lang="en-US" sz="1800" kern="1200" dirty="0">
                  <a:solidFill>
                    <a:schemeClr val="accent1"/>
                  </a:solidFill>
                </a:rPr>
                <a:t>patient </a:t>
              </a:r>
              <a:r>
                <a:rPr lang="en-US" sz="1800" kern="1200" dirty="0" smtClean="0">
                  <a:solidFill>
                    <a:schemeClr val="accent1"/>
                  </a:solidFill>
                </a:rPr>
                <a:t>may </a:t>
              </a:r>
              <a:r>
                <a:rPr lang="en-US" sz="1800" kern="1200" dirty="0">
                  <a:solidFill>
                    <a:schemeClr val="accent1"/>
                  </a:solidFill>
                </a:rPr>
                <a:t>consider </a:t>
              </a:r>
              <a:r>
                <a:rPr lang="en-US" sz="1800" kern="1200" dirty="0" smtClean="0">
                  <a:solidFill>
                    <a:schemeClr val="accent1"/>
                  </a:solidFill>
                </a:rPr>
                <a:t>important &amp; those </a:t>
              </a:r>
              <a:r>
                <a:rPr lang="en-US" sz="1800" kern="1200" dirty="0">
                  <a:solidFill>
                    <a:schemeClr val="accent1"/>
                  </a:solidFill>
                </a:rPr>
                <a:t>that </a:t>
              </a:r>
              <a:r>
                <a:rPr lang="en-US" sz="1800" kern="1200" dirty="0" smtClean="0">
                  <a:solidFill>
                    <a:schemeClr val="accent1"/>
                  </a:solidFill>
                </a:rPr>
                <a:t>may </a:t>
              </a:r>
              <a:r>
                <a:rPr lang="en-US" sz="1800" kern="1200" dirty="0">
                  <a:solidFill>
                    <a:schemeClr val="accent1"/>
                  </a:solidFill>
                </a:rPr>
                <a:t>affect the patient’s decision to </a:t>
              </a:r>
              <a:r>
                <a:rPr lang="en-US" sz="1800" kern="1200" dirty="0" smtClean="0">
                  <a:solidFill>
                    <a:schemeClr val="accent1"/>
                  </a:solidFill>
                </a:rPr>
                <a:t>accept/reject the recommendation</a:t>
              </a:r>
              <a:r>
                <a:rPr lang="en-US" sz="1800" kern="1200" dirty="0">
                  <a:solidFill>
                    <a:schemeClr val="accent1"/>
                  </a:solidFill>
                </a:rPr>
                <a:t>)</a:t>
              </a:r>
            </a:p>
            <a:p>
              <a:pPr marL="171450" lvl="1" indent="-171450" algn="just" defTabSz="800100">
                <a:lnSpc>
                  <a:spcPct val="100000"/>
                </a:lnSpc>
                <a:spcBef>
                  <a:spcPct val="0"/>
                </a:spcBef>
                <a:spcAft>
                  <a:spcPts val="1200"/>
                </a:spcAft>
                <a:buChar char="••"/>
              </a:pPr>
              <a:r>
                <a:rPr lang="en-US" sz="1800" kern="1200" dirty="0" smtClean="0">
                  <a:solidFill>
                    <a:schemeClr val="accent1"/>
                  </a:solidFill>
                </a:rPr>
                <a:t>Risks if the treatment </a:t>
              </a:r>
              <a:r>
                <a:rPr lang="en-US" sz="1800" b="1" kern="1200" dirty="0" smtClean="0">
                  <a:solidFill>
                    <a:schemeClr val="accent1"/>
                  </a:solidFill>
                </a:rPr>
                <a:t>not </a:t>
              </a:r>
              <a:r>
                <a:rPr lang="en-US" sz="1800" b="0" kern="1200" dirty="0" smtClean="0">
                  <a:solidFill>
                    <a:schemeClr val="accent1"/>
                  </a:solidFill>
                </a:rPr>
                <a:t>undertaken</a:t>
              </a:r>
              <a:endParaRPr lang="en-US" sz="1800" kern="1200" dirty="0">
                <a:solidFill>
                  <a:schemeClr val="accent1"/>
                </a:solidFill>
              </a:endParaRPr>
            </a:p>
            <a:p>
              <a:pPr marL="171450" lvl="1" indent="-171450" algn="just" defTabSz="800100">
                <a:lnSpc>
                  <a:spcPct val="100000"/>
                </a:lnSpc>
                <a:spcBef>
                  <a:spcPct val="0"/>
                </a:spcBef>
                <a:spcAft>
                  <a:spcPts val="1200"/>
                </a:spcAft>
                <a:buChar char="••"/>
              </a:pPr>
              <a:r>
                <a:rPr lang="en-US" sz="1800" b="1" kern="1200" dirty="0">
                  <a:solidFill>
                    <a:schemeClr val="accent1"/>
                  </a:solidFill>
                </a:rPr>
                <a:t>Alternatives</a:t>
              </a:r>
              <a:r>
                <a:rPr lang="en-US" sz="1800" kern="1200" dirty="0">
                  <a:solidFill>
                    <a:schemeClr val="accent1"/>
                  </a:solidFill>
                </a:rPr>
                <a:t> to the proposed procedure/treatment, including no action </a:t>
              </a:r>
            </a:p>
            <a:p>
              <a:pPr marL="171450" lvl="1" indent="-171450" algn="just" defTabSz="800100">
                <a:lnSpc>
                  <a:spcPct val="100000"/>
                </a:lnSpc>
                <a:spcBef>
                  <a:spcPct val="0"/>
                </a:spcBef>
                <a:spcAft>
                  <a:spcPts val="1200"/>
                </a:spcAft>
                <a:buChar char="••"/>
              </a:pPr>
              <a:r>
                <a:rPr lang="en-US" sz="1800" kern="1200" dirty="0" smtClean="0">
                  <a:solidFill>
                    <a:schemeClr val="accent1"/>
                  </a:solidFill>
                </a:rPr>
                <a:t>Expected </a:t>
              </a:r>
              <a:r>
                <a:rPr lang="en-US" sz="1800" b="1" kern="1200" dirty="0" smtClean="0">
                  <a:solidFill>
                    <a:schemeClr val="accent1"/>
                  </a:solidFill>
                </a:rPr>
                <a:t>outcomes</a:t>
              </a:r>
              <a:endParaRPr lang="en-US" sz="1800" b="1" kern="1200" dirty="0">
                <a:solidFill>
                  <a:schemeClr val="accent1"/>
                </a:solidFill>
              </a:endParaRPr>
            </a:p>
            <a:p>
              <a:pPr marL="171450" lvl="1" indent="-171450" algn="just" defTabSz="800100">
                <a:lnSpc>
                  <a:spcPct val="100000"/>
                </a:lnSpc>
                <a:spcBef>
                  <a:spcPct val="0"/>
                </a:spcBef>
                <a:spcAft>
                  <a:spcPts val="1200"/>
                </a:spcAft>
                <a:buChar char="••"/>
              </a:pPr>
              <a:r>
                <a:rPr lang="en-US" altLang="en-US" sz="1800" kern="1200" dirty="0" smtClean="0">
                  <a:solidFill>
                    <a:schemeClr val="accent1"/>
                  </a:solidFill>
                  <a:ea typeface="Trebuchet MS" panose="020B0603020202020204" pitchFamily="34" charset="0"/>
                  <a:cs typeface="Trebuchet MS" panose="020B0603020202020204" pitchFamily="34" charset="0"/>
                </a:rPr>
                <a:t>The patient’s </a:t>
              </a:r>
              <a:r>
                <a:rPr lang="en-US" altLang="en-US" sz="1800" b="1" kern="1200" dirty="0" smtClean="0">
                  <a:solidFill>
                    <a:schemeClr val="accent1"/>
                  </a:solidFill>
                  <a:ea typeface="Trebuchet MS" panose="020B0603020202020204" pitchFamily="34" charset="0"/>
                  <a:cs typeface="Trebuchet MS" panose="020B0603020202020204" pitchFamily="34" charset="0"/>
                </a:rPr>
                <a:t>questions</a:t>
              </a:r>
              <a:r>
                <a:rPr lang="en-US" altLang="en-US" sz="1800" kern="1200" dirty="0" smtClean="0">
                  <a:solidFill>
                    <a:schemeClr val="accent1"/>
                  </a:solidFill>
                  <a:ea typeface="Trebuchet MS" panose="020B0603020202020204" pitchFamily="34" charset="0"/>
                  <a:cs typeface="Trebuchet MS" panose="020B0603020202020204" pitchFamily="34" charset="0"/>
                </a:rPr>
                <a:t> and understanding of the proposed plan </a:t>
              </a:r>
              <a:endParaRPr lang="en-US" sz="1800" kern="1200" dirty="0">
                <a:solidFill>
                  <a:schemeClr val="accent1"/>
                </a:solidFill>
              </a:endParaRPr>
            </a:p>
            <a:p>
              <a:pPr marL="171450" lvl="1" indent="-171450" algn="l" defTabSz="800100">
                <a:lnSpc>
                  <a:spcPct val="100000"/>
                </a:lnSpc>
                <a:spcBef>
                  <a:spcPct val="0"/>
                </a:spcBef>
                <a:spcAft>
                  <a:spcPts val="1200"/>
                </a:spcAft>
                <a:buChar char="••"/>
              </a:pPr>
              <a:endParaRPr lang="en-US" sz="1800" kern="1200" dirty="0">
                <a:solidFill>
                  <a:schemeClr val="accent1"/>
                </a:solidFill>
              </a:endParaRPr>
            </a:p>
          </p:txBody>
        </p:sp>
      </p:grpSp>
      <p:sp>
        <p:nvSpPr>
          <p:cNvPr id="8" name="Rounded Rectangle 7"/>
          <p:cNvSpPr/>
          <p:nvPr/>
        </p:nvSpPr>
        <p:spPr>
          <a:xfrm>
            <a:off x="7825103" y="2004374"/>
            <a:ext cx="4048126" cy="401955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a:p>
            <a:pPr algn="ctr">
              <a:lnSpc>
                <a:spcPct val="90000"/>
              </a:lnSpc>
            </a:pPr>
            <a:r>
              <a:rPr lang="en-US" dirty="0" smtClean="0"/>
              <a:t> </a:t>
            </a:r>
            <a:r>
              <a:rPr lang="en-US" dirty="0"/>
              <a:t>Failure to cover </a:t>
            </a:r>
            <a:r>
              <a:rPr lang="en-US" b="1" i="1" dirty="0"/>
              <a:t>any</a:t>
            </a:r>
            <a:r>
              <a:rPr lang="en-US" dirty="0"/>
              <a:t> of these disclosures, or failure of the patient </a:t>
            </a:r>
            <a:r>
              <a:rPr lang="en-US" b="1" i="1" dirty="0"/>
              <a:t>to understand </a:t>
            </a:r>
            <a:r>
              <a:rPr lang="en-US" dirty="0"/>
              <a:t>any of these disclosures, may set the stage for a subsequent malpractice action</a:t>
            </a:r>
            <a:r>
              <a:rPr lang="en-US" dirty="0" smtClean="0"/>
              <a:t>.</a:t>
            </a:r>
          </a:p>
          <a:p>
            <a:pPr algn="ctr">
              <a:lnSpc>
                <a:spcPct val="90000"/>
              </a:lnSpc>
            </a:pPr>
            <a:endParaRPr lang="en-US" dirty="0"/>
          </a:p>
          <a:p>
            <a:pPr algn="ctr">
              <a:lnSpc>
                <a:spcPct val="90000"/>
              </a:lnSpc>
            </a:pPr>
            <a:r>
              <a:rPr lang="en-US" dirty="0" smtClean="0"/>
              <a:t>This duty is </a:t>
            </a:r>
            <a:r>
              <a:rPr lang="en-US" b="1" dirty="0" smtClean="0"/>
              <a:t>non-delegable</a:t>
            </a:r>
            <a:r>
              <a:rPr lang="en-US" dirty="0" smtClean="0"/>
              <a:t>.</a:t>
            </a:r>
            <a:endParaRPr lang="en-US" dirty="0"/>
          </a:p>
        </p:txBody>
      </p:sp>
      <p:pic>
        <p:nvPicPr>
          <p:cNvPr id="9" name="Picture 8"/>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xmlns="" val="0"/>
              </a:ext>
            </a:extLst>
          </a:blip>
          <a:srcRect l="19167" t="73611" r="67500" b="10555"/>
          <a:stretch/>
        </p:blipFill>
        <p:spPr>
          <a:xfrm>
            <a:off x="9312911" y="634371"/>
            <a:ext cx="1336153" cy="1586682"/>
          </a:xfrm>
          <a:prstGeom prst="rect">
            <a:avLst/>
          </a:prstGeom>
        </p:spPr>
      </p:pic>
    </p:spTree>
    <p:extLst>
      <p:ext uri="{BB962C8B-B14F-4D97-AF65-F5344CB8AC3E}">
        <p14:creationId xmlns:p14="http://schemas.microsoft.com/office/powerpoint/2010/main" xmlns="" val="27741964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ed Consent &amp; Documentation—A Good Example</a:t>
            </a:r>
          </a:p>
        </p:txBody>
      </p:sp>
      <p:sp>
        <p:nvSpPr>
          <p:cNvPr id="3" name="Slide Number Placeholder 2"/>
          <p:cNvSpPr>
            <a:spLocks noGrp="1"/>
          </p:cNvSpPr>
          <p:nvPr>
            <p:ph type="sldNum" sz="quarter" idx="12"/>
          </p:nvPr>
        </p:nvSpPr>
        <p:spPr/>
        <p:txBody>
          <a:bodyPr/>
          <a:lstStyle/>
          <a:p>
            <a:fld id="{DA135043-C596-1A48-8BDA-03EB29A64DF4}" type="slidenum">
              <a:rPr lang="en-US" smtClean="0"/>
              <a:pPr/>
              <a:t>17</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19238" y="2674153"/>
            <a:ext cx="11213726" cy="1373934"/>
          </a:xfrm>
          <a:prstGeom prst="rect">
            <a:avLst/>
          </a:prstGeom>
        </p:spPr>
      </p:pic>
      <p:sp>
        <p:nvSpPr>
          <p:cNvPr id="6" name="Rounded Rectangle 5"/>
          <p:cNvSpPr/>
          <p:nvPr/>
        </p:nvSpPr>
        <p:spPr>
          <a:xfrm>
            <a:off x="1256459" y="1331462"/>
            <a:ext cx="4097201" cy="39660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solidFill>
                  <a:schemeClr val="bg1"/>
                </a:solidFill>
              </a:rPr>
              <a:t>Condition &amp; Suggested Treatment</a:t>
            </a:r>
            <a:endParaRPr lang="en-US" dirty="0"/>
          </a:p>
        </p:txBody>
      </p:sp>
      <p:cxnSp>
        <p:nvCxnSpPr>
          <p:cNvPr id="7" name="Straight Arrow Connector 6"/>
          <p:cNvCxnSpPr/>
          <p:nvPr/>
        </p:nvCxnSpPr>
        <p:spPr>
          <a:xfrm flipH="1" flipV="1">
            <a:off x="4131325" y="1795749"/>
            <a:ext cx="11017" cy="878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a:xfrm>
            <a:off x="7236783" y="1263818"/>
            <a:ext cx="4097201" cy="39660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solidFill>
                  <a:schemeClr val="bg1"/>
                </a:solidFill>
              </a:rPr>
              <a:t>Risks of Suggested Treatment</a:t>
            </a:r>
            <a:endParaRPr lang="en-US" dirty="0"/>
          </a:p>
        </p:txBody>
      </p:sp>
      <p:cxnSp>
        <p:nvCxnSpPr>
          <p:cNvPr id="9" name="Straight Arrow Connector 8"/>
          <p:cNvCxnSpPr/>
          <p:nvPr/>
        </p:nvCxnSpPr>
        <p:spPr>
          <a:xfrm>
            <a:off x="9077899" y="1795749"/>
            <a:ext cx="925417" cy="878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947987" y="5119669"/>
            <a:ext cx="4097201" cy="396607"/>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solidFill>
                  <a:schemeClr val="bg1"/>
                </a:solidFill>
              </a:rPr>
              <a:t>Patient Education</a:t>
            </a:r>
            <a:endParaRPr lang="en-US" dirty="0"/>
          </a:p>
        </p:txBody>
      </p:sp>
      <p:cxnSp>
        <p:nvCxnSpPr>
          <p:cNvPr id="11" name="Straight Arrow Connector 10"/>
          <p:cNvCxnSpPr/>
          <p:nvPr/>
        </p:nvCxnSpPr>
        <p:spPr>
          <a:xfrm>
            <a:off x="2335576" y="3701667"/>
            <a:ext cx="506776" cy="12669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2996588" y="3944039"/>
            <a:ext cx="1145754" cy="10245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a:xfrm>
            <a:off x="4556548" y="5672887"/>
            <a:ext cx="4097201" cy="39660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solidFill>
                  <a:schemeClr val="bg1"/>
                </a:solidFill>
              </a:rPr>
              <a:t>Patient Desires</a:t>
            </a:r>
            <a:endParaRPr lang="en-US" dirty="0"/>
          </a:p>
        </p:txBody>
      </p:sp>
      <p:cxnSp>
        <p:nvCxnSpPr>
          <p:cNvPr id="14" name="Straight Arrow Connector 13"/>
          <p:cNvCxnSpPr/>
          <p:nvPr/>
        </p:nvCxnSpPr>
        <p:spPr>
          <a:xfrm flipH="1">
            <a:off x="6213513" y="3789802"/>
            <a:ext cx="672030" cy="17264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7776028" y="5036976"/>
            <a:ext cx="4097201" cy="396607"/>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dirty="0" smtClean="0">
                <a:solidFill>
                  <a:schemeClr val="bg1"/>
                </a:solidFill>
              </a:rPr>
              <a:t>Options in Compromise</a:t>
            </a:r>
            <a:endParaRPr lang="en-US" dirty="0"/>
          </a:p>
        </p:txBody>
      </p:sp>
      <p:cxnSp>
        <p:nvCxnSpPr>
          <p:cNvPr id="16" name="Straight Arrow Connector 15"/>
          <p:cNvCxnSpPr/>
          <p:nvPr/>
        </p:nvCxnSpPr>
        <p:spPr>
          <a:xfrm>
            <a:off x="8141465" y="3283027"/>
            <a:ext cx="1024569" cy="16855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064838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ized Consen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18</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xmlns="" val="661530045"/>
              </p:ext>
            </p:extLst>
          </p:nvPr>
        </p:nvGraphicFramePr>
        <p:xfrm>
          <a:off x="649825" y="1484142"/>
          <a:ext cx="10829145" cy="2910058"/>
        </p:xfrm>
        <a:graphic>
          <a:graphicData uri="http://schemas.openxmlformats.org/drawingml/2006/table">
            <a:tbl>
              <a:tblPr firstRow="1" bandRow="1">
                <a:tableStyleId>{2D5ABB26-0587-4C30-8999-92F81FD0307C}</a:tableStyleId>
              </a:tblPr>
              <a:tblGrid>
                <a:gridCol w="10829145">
                  <a:extLst>
                    <a:ext uri="{9D8B030D-6E8A-4147-A177-3AD203B41FA5}">
                      <a16:colId xmlns:a16="http://schemas.microsoft.com/office/drawing/2014/main" xmlns="" val="1376828922"/>
                    </a:ext>
                  </a:extLst>
                </a:gridCol>
              </a:tblGrid>
              <a:tr h="2910058">
                <a:tc>
                  <a:txBody>
                    <a:bodyPr/>
                    <a:lstStyle/>
                    <a:p>
                      <a:pPr algn="ctr"/>
                      <a:r>
                        <a:rPr lang="en-US" sz="2500" b="0" dirty="0">
                          <a:solidFill>
                            <a:schemeClr val="tx2"/>
                          </a:solidFill>
                          <a:latin typeface="Arial" panose="020B0604020202020204" pitchFamily="34" charset="0"/>
                          <a:ea typeface="Tahoma" panose="020B0604030504040204" pitchFamily="34" charset="0"/>
                          <a:cs typeface="Tahoma" panose="020B0604030504040204" pitchFamily="34" charset="0"/>
                        </a:rPr>
                        <a:t>Patients cannot make an informed decision about their own risks or benefits with any given therapy based solely on population-wide data. They need estimates based on their </a:t>
                      </a:r>
                      <a:r>
                        <a:rPr lang="en-US" sz="2500" b="0" i="1" dirty="0">
                          <a:solidFill>
                            <a:schemeClr val="tx2"/>
                          </a:solidFill>
                          <a:latin typeface="Arial" panose="020B0604020202020204" pitchFamily="34" charset="0"/>
                          <a:ea typeface="Tahoma" panose="020B0604030504040204" pitchFamily="34" charset="0"/>
                          <a:cs typeface="Tahoma" panose="020B0604030504040204" pitchFamily="34" charset="0"/>
                        </a:rPr>
                        <a:t>own</a:t>
                      </a:r>
                      <a:r>
                        <a:rPr lang="en-US" sz="2500" b="0" dirty="0">
                          <a:solidFill>
                            <a:schemeClr val="tx2"/>
                          </a:solidFill>
                          <a:latin typeface="Arial" panose="020B0604020202020204" pitchFamily="34" charset="0"/>
                          <a:ea typeface="Tahoma" panose="020B0604030504040204" pitchFamily="34" charset="0"/>
                          <a:cs typeface="Tahoma" panose="020B0604030504040204" pitchFamily="34" charset="0"/>
                        </a:rPr>
                        <a:t> unique characteristics.</a:t>
                      </a:r>
                      <a:endParaRPr lang="en-US" sz="2500" dirty="0"/>
                    </a:p>
                  </a:txBody>
                  <a:tcPr anchor="ctr">
                    <a:lnT w="19050" cap="flat" cmpd="sng" algn="ctr">
                      <a:solidFill>
                        <a:srgbClr val="0373FF"/>
                      </a:solidFill>
                      <a:prstDash val="solid"/>
                      <a:round/>
                      <a:headEnd type="none" w="med" len="med"/>
                      <a:tailEnd type="none" w="med" len="med"/>
                    </a:lnT>
                    <a:lnB w="19050" cap="flat" cmpd="sng" algn="ctr">
                      <a:solidFill>
                        <a:srgbClr val="0373FF"/>
                      </a:solidFill>
                      <a:prstDash val="solid"/>
                      <a:round/>
                      <a:headEnd type="none" w="med" len="med"/>
                      <a:tailEnd type="none" w="med" len="med"/>
                    </a:lnB>
                  </a:tcPr>
                </a:tc>
                <a:extLst>
                  <a:ext uri="{0D108BD9-81ED-4DB2-BD59-A6C34878D82A}">
                    <a16:rowId xmlns:a16="http://schemas.microsoft.com/office/drawing/2014/main" xmlns="" val="3323271558"/>
                  </a:ext>
                </a:extLst>
              </a:tr>
            </a:tbl>
          </a:graphicData>
        </a:graphic>
      </p:graphicFrame>
      <p:pic>
        <p:nvPicPr>
          <p:cNvPr id="7" name="Picture 6"/>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rot="10800000">
            <a:off x="5579162" y="1045696"/>
            <a:ext cx="729269" cy="731520"/>
          </a:xfrm>
          <a:prstGeom prst="rect">
            <a:avLst/>
          </a:prstGeom>
        </p:spPr>
      </p:pic>
      <p:pic>
        <p:nvPicPr>
          <p:cNvPr id="8" name="Picture 7"/>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579799" y="4101127"/>
            <a:ext cx="729269" cy="731520"/>
          </a:xfrm>
          <a:prstGeom prst="rect">
            <a:avLst/>
          </a:prstGeom>
        </p:spPr>
      </p:pic>
      <p:sp>
        <p:nvSpPr>
          <p:cNvPr id="9" name="Text Placeholder 2"/>
          <p:cNvSpPr txBox="1">
            <a:spLocks/>
          </p:cNvSpPr>
          <p:nvPr/>
        </p:nvSpPr>
        <p:spPr>
          <a:xfrm>
            <a:off x="414730" y="6487405"/>
            <a:ext cx="11064240" cy="229289"/>
          </a:xfrm>
          <a:prstGeom prst="rect">
            <a:avLst/>
          </a:prstGeom>
        </p:spPr>
        <p:txBody>
          <a:bodyPr/>
          <a:lst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r>
              <a:rPr lang="en-US" sz="1000" dirty="0" smtClean="0"/>
              <a:t>Miller, R. (2011, November 15). </a:t>
            </a:r>
            <a:r>
              <a:rPr lang="en-US" sz="1000" i="1" dirty="0" smtClean="0"/>
              <a:t>Customized informed consent improves communication. </a:t>
            </a:r>
            <a:r>
              <a:rPr lang="en-US" sz="1000" dirty="0" smtClean="0"/>
              <a:t>Medscape. Retrieved from </a:t>
            </a:r>
            <a:r>
              <a:rPr lang="en-US" sz="1000" dirty="0" smtClean="0">
                <a:hlinkClick r:id="rId3"/>
              </a:rPr>
              <a:t>www.medscape.com/viewarticle/753598</a:t>
            </a:r>
            <a:r>
              <a:rPr lang="en-US" sz="1000" dirty="0" smtClean="0"/>
              <a:t> </a:t>
            </a:r>
            <a:endParaRPr lang="en-US" sz="1000" dirty="0"/>
          </a:p>
        </p:txBody>
      </p:sp>
    </p:spTree>
    <p:extLst>
      <p:ext uri="{BB962C8B-B14F-4D97-AF65-F5344CB8AC3E}">
        <p14:creationId xmlns:p14="http://schemas.microsoft.com/office/powerpoint/2010/main" xmlns="" val="33917488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1: Informed Consen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19</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1873211561"/>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p:cNvGrpSpPr/>
          <p:nvPr/>
        </p:nvGrpSpPr>
        <p:grpSpPr>
          <a:xfrm>
            <a:off x="4457700" y="5400675"/>
            <a:ext cx="2769446" cy="478625"/>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Tree>
    <p:extLst>
      <p:ext uri="{BB962C8B-B14F-4D97-AF65-F5344CB8AC3E}">
        <p14:creationId xmlns:p14="http://schemas.microsoft.com/office/powerpoint/2010/main" xmlns="" val="14021578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370018"/>
            <a:ext cx="11058132" cy="709743"/>
          </a:xfrm>
        </p:spPr>
        <p:txBody>
          <a:bodyPr/>
          <a:lstStyle/>
          <a:p>
            <a:r>
              <a:rPr lang="en-US" dirty="0"/>
              <a:t>Speaker Bio</a:t>
            </a:r>
          </a:p>
        </p:txBody>
      </p:sp>
      <p:sp>
        <p:nvSpPr>
          <p:cNvPr id="10" name="TextBox 1"/>
          <p:cNvSpPr txBox="1">
            <a:spLocks noChangeArrowheads="1"/>
          </p:cNvSpPr>
          <p:nvPr/>
        </p:nvSpPr>
        <p:spPr bwMode="auto">
          <a:xfrm>
            <a:off x="414730" y="1006652"/>
            <a:ext cx="9063348"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4625" eaLnBrk="0" hangingPunct="0">
              <a:spcBef>
                <a:spcPct val="20000"/>
              </a:spcBef>
              <a:buClr>
                <a:srgbClr val="3C3C3B"/>
              </a:buClr>
              <a:buFont typeface="Arial" charset="0"/>
              <a:buChar char="•"/>
              <a:defRPr sz="2500">
                <a:solidFill>
                  <a:schemeClr val="tx1"/>
                </a:solidFill>
                <a:latin typeface="Tahoma" pitchFamily="34" charset="0"/>
                <a:cs typeface="Tahoma" pitchFamily="34" charset="0"/>
              </a:defRPr>
            </a:lvl1pPr>
            <a:lvl2pPr marL="742950" indent="-285750" eaLnBrk="0" hangingPunct="0">
              <a:spcBef>
                <a:spcPct val="20000"/>
              </a:spcBef>
              <a:buFont typeface="Arial" charset="0"/>
              <a:buChar char="•"/>
              <a:defRPr sz="2300">
                <a:solidFill>
                  <a:schemeClr val="tx1"/>
                </a:solidFill>
                <a:latin typeface="Tahoma" pitchFamily="34" charset="0"/>
                <a:cs typeface="Tahoma" pitchFamily="34" charset="0"/>
              </a:defRPr>
            </a:lvl2pPr>
            <a:lvl3pPr marL="1143000" indent="-228600" eaLnBrk="0" hangingPunct="0">
              <a:spcBef>
                <a:spcPct val="20000"/>
              </a:spcBef>
              <a:buFont typeface="Arial" charset="0"/>
              <a:buChar char="•"/>
              <a:defRPr sz="2200">
                <a:solidFill>
                  <a:schemeClr val="tx1"/>
                </a:solidFill>
                <a:latin typeface="Tahoma" pitchFamily="34" charset="0"/>
                <a:cs typeface="Tahoma" pitchFamily="34" charset="0"/>
              </a:defRPr>
            </a:lvl3pPr>
            <a:lvl4pPr marL="1600200" indent="-228600" eaLnBrk="0" hangingPunct="0">
              <a:spcBef>
                <a:spcPct val="20000"/>
              </a:spcBef>
              <a:buFont typeface="Arial" charset="0"/>
              <a:buChar char="–"/>
              <a:defRPr sz="2100">
                <a:solidFill>
                  <a:schemeClr val="tx1"/>
                </a:solidFill>
                <a:latin typeface="Tahoma" pitchFamily="34" charset="0"/>
                <a:cs typeface="Tahoma" pitchFamily="34" charset="0"/>
              </a:defRPr>
            </a:lvl4pPr>
            <a:lvl5pPr marL="2057400" indent="-228600" eaLnBrk="0" hangingPunct="0">
              <a:spcBef>
                <a:spcPct val="20000"/>
              </a:spcBef>
              <a:buFont typeface="Arial" charset="0"/>
              <a:buChar char="»"/>
              <a:defRPr sz="2000">
                <a:solidFill>
                  <a:schemeClr val="tx1"/>
                </a:solidFill>
                <a:latin typeface="Tahoma" pitchFamily="34" charset="0"/>
                <a:cs typeface="Tahoma"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9pPr>
          </a:lstStyle>
          <a:p>
            <a:pPr marL="0" defTabSz="1219170" eaLnBrk="1" fontAlgn="base" hangingPunct="1">
              <a:spcBef>
                <a:spcPct val="0"/>
              </a:spcBef>
              <a:buClrTx/>
              <a:buNone/>
              <a:defRPr/>
            </a:pPr>
            <a:r>
              <a:rPr lang="en-US" altLang="en-US" sz="1800" b="1" dirty="0" smtClean="0">
                <a:solidFill>
                  <a:schemeClr val="dk2"/>
                </a:solidFill>
                <a:latin typeface="+mn-lt"/>
                <a:cs typeface="Arial" panose="020B0604020202020204" pitchFamily="34" charset="0"/>
              </a:rPr>
              <a:t>Jacqueline Clarke, J.D. Lead Senior Risk Consultant and Dental Claims Consultant, </a:t>
            </a:r>
            <a:r>
              <a:rPr lang="en-US" altLang="en-US" sz="1800" b="1" dirty="0">
                <a:solidFill>
                  <a:schemeClr val="dk2"/>
                </a:solidFill>
                <a:latin typeface="+mn-lt"/>
                <a:cs typeface="Arial" panose="020B0604020202020204" pitchFamily="34" charset="0"/>
              </a:rPr>
              <a:t>MedPro Group </a:t>
            </a:r>
            <a:r>
              <a:rPr lang="en-US" altLang="en-US" sz="1800" b="1" dirty="0" smtClean="0">
                <a:solidFill>
                  <a:schemeClr val="dk2"/>
                </a:solidFill>
                <a:latin typeface="+mn-lt"/>
                <a:cs typeface="Arial" panose="020B0604020202020204" pitchFamily="34" charset="0"/>
              </a:rPr>
              <a:t>(</a:t>
            </a:r>
            <a:r>
              <a:rPr lang="en-US" sz="1800" b="1" dirty="0" smtClean="0">
                <a:solidFill>
                  <a:schemeClr val="dk2"/>
                </a:solidFill>
                <a:latin typeface="Arial" panose="020B0604020202020204" pitchFamily="34" charset="0"/>
                <a:hlinkClick r:id="rId4"/>
              </a:rPr>
              <a:t>Jacqueline.Clarke@medpro.com</a:t>
            </a:r>
            <a:r>
              <a:rPr lang="en-US" sz="1800" b="1" dirty="0" smtClean="0">
                <a:solidFill>
                  <a:schemeClr val="dk2"/>
                </a:solidFill>
                <a:latin typeface="Arial" panose="020B0604020202020204" pitchFamily="34" charset="0"/>
              </a:rPr>
              <a:t>; 248-216-0644</a:t>
            </a:r>
            <a:r>
              <a:rPr lang="en-US" altLang="en-US" sz="1800" b="1" dirty="0" smtClean="0">
                <a:solidFill>
                  <a:schemeClr val="dk2"/>
                </a:solidFill>
                <a:latin typeface="+mn-lt"/>
                <a:cs typeface="Arial" panose="020B0604020202020204" pitchFamily="34" charset="0"/>
              </a:rPr>
              <a:t>)   </a:t>
            </a:r>
            <a:endParaRPr lang="en-US" altLang="en-US" sz="1800" b="1" dirty="0">
              <a:solidFill>
                <a:schemeClr val="dk2"/>
              </a:solidFill>
              <a:latin typeface="+mn-lt"/>
              <a:cs typeface="Arial" panose="020B0604020202020204" pitchFamily="34" charset="0"/>
            </a:endParaRPr>
          </a:p>
        </p:txBody>
      </p:sp>
      <p:sp>
        <p:nvSpPr>
          <p:cNvPr id="8" name="TextBox 7"/>
          <p:cNvSpPr txBox="1"/>
          <p:nvPr/>
        </p:nvSpPr>
        <p:spPr>
          <a:xfrm>
            <a:off x="414731" y="4584037"/>
            <a:ext cx="11193668" cy="1754326"/>
          </a:xfrm>
          <a:prstGeom prst="rect">
            <a:avLst/>
          </a:prstGeom>
          <a:noFill/>
        </p:spPr>
        <p:txBody>
          <a:bodyPr wrap="square" rtlCol="0">
            <a:spAutoFit/>
          </a:bodyPr>
          <a:lstStyle/>
          <a:p>
            <a:pPr algn="just"/>
            <a:r>
              <a:rPr lang="en-US" dirty="0">
                <a:solidFill>
                  <a:schemeClr val="tx2"/>
                </a:solidFill>
              </a:rPr>
              <a:t>Jacqueline joined </a:t>
            </a:r>
            <a:r>
              <a:rPr lang="en-US" dirty="0" err="1">
                <a:solidFill>
                  <a:schemeClr val="tx2"/>
                </a:solidFill>
              </a:rPr>
              <a:t>MedPro</a:t>
            </a:r>
            <a:r>
              <a:rPr lang="en-US" dirty="0">
                <a:solidFill>
                  <a:schemeClr val="tx2"/>
                </a:solidFill>
              </a:rPr>
              <a:t> in 2018 and helped our dental division achieve a trial win rate of 95% and a closed without payment rate over 80%. Jacqueline’s responsibilities include developing and delivering risk management and patient safety services to </a:t>
            </a:r>
            <a:r>
              <a:rPr lang="en-US" dirty="0" err="1">
                <a:solidFill>
                  <a:schemeClr val="tx2"/>
                </a:solidFill>
              </a:rPr>
              <a:t>MedPro</a:t>
            </a:r>
            <a:r>
              <a:rPr lang="en-US" dirty="0">
                <a:solidFill>
                  <a:schemeClr val="tx2"/>
                </a:solidFill>
              </a:rPr>
              <a:t>-insured dentists, </a:t>
            </a:r>
            <a:r>
              <a:rPr lang="en-US" dirty="0" smtClean="0">
                <a:solidFill>
                  <a:schemeClr val="tx2"/>
                </a:solidFill>
              </a:rPr>
              <a:t>students, </a:t>
            </a:r>
            <a:r>
              <a:rPr lang="en-US" dirty="0">
                <a:solidFill>
                  <a:schemeClr val="tx2"/>
                </a:solidFill>
              </a:rPr>
              <a:t>and national dental organizations. Jacqueline also serves in a business development role by providing educational seminars on risk reduction and proactive risk management to prospective clients, distribution partners and dental </a:t>
            </a:r>
            <a:r>
              <a:rPr lang="en-US" dirty="0" smtClean="0">
                <a:solidFill>
                  <a:schemeClr val="tx2"/>
                </a:solidFill>
              </a:rPr>
              <a:t>students.</a:t>
            </a:r>
            <a:endParaRPr lang="en-US" dirty="0">
              <a:solidFill>
                <a:schemeClr val="tx2"/>
              </a:solidFill>
            </a:endParaRPr>
          </a:p>
        </p:txBody>
      </p:sp>
      <p:sp>
        <p:nvSpPr>
          <p:cNvPr id="3" name="TextBox 2"/>
          <p:cNvSpPr txBox="1"/>
          <p:nvPr/>
        </p:nvSpPr>
        <p:spPr>
          <a:xfrm>
            <a:off x="414730" y="1770865"/>
            <a:ext cx="9022476" cy="1200329"/>
          </a:xfrm>
          <a:prstGeom prst="rect">
            <a:avLst/>
          </a:prstGeom>
          <a:noFill/>
        </p:spPr>
        <p:txBody>
          <a:bodyPr wrap="square" rtlCol="0">
            <a:spAutoFit/>
          </a:bodyPr>
          <a:lstStyle/>
          <a:p>
            <a:pPr algn="just"/>
            <a:r>
              <a:rPr lang="en-US" dirty="0">
                <a:solidFill>
                  <a:schemeClr val="tx2"/>
                </a:solidFill>
              </a:rPr>
              <a:t>Jacqueline Clarke received her BA in Literature and Film from Kalamazoo College in 2010, and her Juris Doctorate from Michigan State University College of Law in 2013. She is admitted to practice law in both the Michigan and Illinois state courts, as well as the United States District Courts for the Eastern and Western Districts of Michigan. </a:t>
            </a:r>
            <a:endParaRPr lang="en-US" sz="1800" dirty="0">
              <a:solidFill>
                <a:schemeClr val="tx2"/>
              </a:solidFill>
            </a:endParaRPr>
          </a:p>
        </p:txBody>
      </p:sp>
      <p:sp>
        <p:nvSpPr>
          <p:cNvPr id="5" name="TextBox 4"/>
          <p:cNvSpPr txBox="1"/>
          <p:nvPr/>
        </p:nvSpPr>
        <p:spPr>
          <a:xfrm>
            <a:off x="414730" y="3022600"/>
            <a:ext cx="11524858" cy="1477328"/>
          </a:xfrm>
          <a:prstGeom prst="rect">
            <a:avLst/>
          </a:prstGeom>
          <a:noFill/>
        </p:spPr>
        <p:txBody>
          <a:bodyPr wrap="square" rtlCol="0">
            <a:spAutoFit/>
          </a:bodyPr>
          <a:lstStyle/>
          <a:p>
            <a:pPr algn="just"/>
            <a:r>
              <a:rPr lang="en-US" dirty="0">
                <a:solidFill>
                  <a:schemeClr val="tx2"/>
                </a:solidFill>
              </a:rPr>
              <a:t>Before joining </a:t>
            </a:r>
            <a:r>
              <a:rPr lang="en-US" dirty="0" err="1">
                <a:solidFill>
                  <a:schemeClr val="tx2"/>
                </a:solidFill>
              </a:rPr>
              <a:t>MedPro</a:t>
            </a:r>
            <a:r>
              <a:rPr lang="en-US" dirty="0">
                <a:solidFill>
                  <a:schemeClr val="tx2"/>
                </a:solidFill>
              </a:rPr>
              <a:t> Group, she worked as a litigation attorney at Smith, </a:t>
            </a:r>
            <a:r>
              <a:rPr lang="en-US" dirty="0" err="1">
                <a:solidFill>
                  <a:schemeClr val="tx2"/>
                </a:solidFill>
              </a:rPr>
              <a:t>Haughey</a:t>
            </a:r>
            <a:r>
              <a:rPr lang="en-US" dirty="0">
                <a:solidFill>
                  <a:schemeClr val="tx2"/>
                </a:solidFill>
              </a:rPr>
              <a:t>, Rice &amp; </a:t>
            </a:r>
            <a:r>
              <a:rPr lang="en-US" dirty="0" err="1">
                <a:solidFill>
                  <a:schemeClr val="tx2"/>
                </a:solidFill>
              </a:rPr>
              <a:t>Roegge</a:t>
            </a:r>
            <a:r>
              <a:rPr lang="en-US" dirty="0">
                <a:solidFill>
                  <a:schemeClr val="tx2"/>
                </a:solidFill>
              </a:rPr>
              <a:t> in Ann Arbor, Michigan. There, she specialized in the defense of hospitals, healthcare facilities, physicians, nurses, and dentists in all stages of the licensing, claims, and litigation processes. She also provided risk management consultative services to a number of institutional clients, including the University of Michigan Health System, Spectrum Health, and Beaumont Health. </a:t>
            </a:r>
          </a:p>
        </p:txBody>
      </p:sp>
      <p:sp>
        <p:nvSpPr>
          <p:cNvPr id="6" name="Slide Number Placeholder 5"/>
          <p:cNvSpPr>
            <a:spLocks noGrp="1"/>
          </p:cNvSpPr>
          <p:nvPr>
            <p:ph type="sldNum" sz="quarter" idx="12"/>
          </p:nvPr>
        </p:nvSpPr>
        <p:spPr/>
        <p:txBody>
          <a:bodyPr/>
          <a:lstStyle/>
          <a:p>
            <a:fld id="{DA135043-C596-1A48-8BDA-03EB29A64DF4}" type="slidenum">
              <a:rPr lang="en-US" smtClean="0"/>
              <a:pPr/>
              <a:t>2</a:t>
            </a:fld>
            <a:endParaRPr lang="en-US" dirty="0"/>
          </a:p>
        </p:txBody>
      </p:sp>
      <p:pic>
        <p:nvPicPr>
          <p:cNvPr id="7" name="Picture 6"/>
          <p:cNvPicPr>
            <a:picLocks noChangeAspect="1"/>
          </p:cNvPicPr>
          <p:nvPr/>
        </p:nvPicPr>
        <p:blipFill rotWithShape="1">
          <a:blip r:embed="rId5">
            <a:extLst>
              <a:ext uri="{28A0092B-C50C-407E-A947-70E740481C1C}">
                <a14:useLocalDpi xmlns:a14="http://schemas.microsoft.com/office/drawing/2010/main" xmlns="" val="0"/>
              </a:ext>
            </a:extLst>
          </a:blip>
          <a:srcRect l="19381" t="16328" r="12343"/>
          <a:stretch/>
        </p:blipFill>
        <p:spPr>
          <a:xfrm>
            <a:off x="9437206" y="457200"/>
            <a:ext cx="2335694" cy="2565400"/>
          </a:xfrm>
          <a:prstGeom prst="rect">
            <a:avLst/>
          </a:prstGeom>
        </p:spPr>
      </p:pic>
    </p:spTree>
    <p:custDataLst>
      <p:tags r:id="rId1"/>
    </p:custDataLst>
    <p:extLst>
      <p:ext uri="{BB962C8B-B14F-4D97-AF65-F5344CB8AC3E}">
        <p14:creationId xmlns:p14="http://schemas.microsoft.com/office/powerpoint/2010/main" xmlns="" val="206353770"/>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1: Informed Consent</a:t>
            </a:r>
          </a:p>
        </p:txBody>
      </p:sp>
      <p:sp>
        <p:nvSpPr>
          <p:cNvPr id="3" name="Slide Number Placeholder 2"/>
          <p:cNvSpPr>
            <a:spLocks noGrp="1"/>
          </p:cNvSpPr>
          <p:nvPr>
            <p:ph type="sldNum" sz="quarter" idx="12"/>
          </p:nvPr>
        </p:nvSpPr>
        <p:spPr/>
        <p:txBody>
          <a:bodyPr/>
          <a:lstStyle/>
          <a:p>
            <a:fld id="{DA135043-C596-1A48-8BDA-03EB29A64DF4}" type="slidenum">
              <a:rPr lang="en-US" smtClean="0"/>
              <a:pPr/>
              <a:t>20</a:t>
            </a:fld>
            <a:endParaRPr lang="en-US" dirty="0"/>
          </a:p>
        </p:txBody>
      </p:sp>
      <p:grpSp>
        <p:nvGrpSpPr>
          <p:cNvPr id="5" name="Group 4"/>
          <p:cNvGrpSpPr/>
          <p:nvPr/>
        </p:nvGrpSpPr>
        <p:grpSpPr>
          <a:xfrm>
            <a:off x="328945" y="1013461"/>
            <a:ext cx="5038058" cy="468951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506776"/>
            <a:ext cx="5038058" cy="3216925"/>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2" name="Rectangle 11"/>
          <p:cNvSpPr/>
          <p:nvPr/>
        </p:nvSpPr>
        <p:spPr>
          <a:xfrm>
            <a:off x="6528993" y="630536"/>
            <a:ext cx="4733925" cy="3339376"/>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Other </a:t>
            </a:r>
            <a:r>
              <a:rPr lang="en-US" sz="2400" b="1" dirty="0" err="1" smtClean="0">
                <a:solidFill>
                  <a:schemeClr val="bg1"/>
                </a:solidFill>
                <a:latin typeface="Arial" panose="020B0604020202020204" pitchFamily="34" charset="0"/>
                <a:ea typeface="Tahoma" panose="020B0604030504040204" pitchFamily="34" charset="0"/>
                <a:cs typeface="Arial" panose="020B0604020202020204" pitchFamily="34" charset="0"/>
              </a:rPr>
              <a:t>Tx</a:t>
            </a: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 Options</a:t>
            </a:r>
          </a:p>
          <a:p>
            <a:pPr algn="just" defTabSz="1066800">
              <a:spcBef>
                <a:spcPct val="0"/>
              </a:spcBef>
            </a:pPr>
            <a:endPar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a:t>
            </a:r>
            <a:r>
              <a:rPr lang="en-US" sz="2000" dirty="0">
                <a:solidFill>
                  <a:schemeClr val="bg1"/>
                </a:solidFill>
                <a:latin typeface="Arial" panose="020B0604020202020204" pitchFamily="34" charset="0"/>
                <a:ea typeface="Tahoma" panose="020B0604030504040204" pitchFamily="34" charset="0"/>
                <a:cs typeface="Arial" panose="020B0604020202020204" pitchFamily="34" charset="0"/>
              </a:rPr>
              <a:t>32 was asymptomatic when the patient presented – did the tooth need to be extracted?</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lvl="0" algn="just" defTabSz="1066800">
              <a:spcBef>
                <a:spcPct val="0"/>
              </a:spcBef>
              <a:spcAft>
                <a:spcPts val="600"/>
              </a:spcAft>
            </a:pPr>
            <a:r>
              <a:rPr lang="en-US" sz="2000" dirty="0">
                <a:solidFill>
                  <a:schemeClr val="bg1"/>
                </a:solidFill>
                <a:latin typeface="Arial" panose="020B0604020202020204" pitchFamily="34" charset="0"/>
                <a:ea typeface="Tahoma" panose="020B0604030504040204" pitchFamily="34" charset="0"/>
                <a:cs typeface="Arial" panose="020B0604020202020204" pitchFamily="34" charset="0"/>
              </a:rPr>
              <a:t>A </a:t>
            </a:r>
            <a:r>
              <a:rPr lang="en-US" sz="2000" dirty="0" err="1">
                <a:solidFill>
                  <a:schemeClr val="bg1"/>
                </a:solidFill>
                <a:latin typeface="Arial" panose="020B0604020202020204" pitchFamily="34" charset="0"/>
                <a:ea typeface="Tahoma" panose="020B0604030504040204" pitchFamily="34" charset="0"/>
                <a:cs typeface="Arial" panose="020B0604020202020204" pitchFamily="34" charset="0"/>
              </a:rPr>
              <a:t>coronectomy</a:t>
            </a:r>
            <a:r>
              <a:rPr lang="en-US" sz="2000" dirty="0">
                <a:solidFill>
                  <a:schemeClr val="bg1"/>
                </a:solidFill>
                <a:latin typeface="Arial" panose="020B0604020202020204" pitchFamily="34" charset="0"/>
                <a:ea typeface="Tahoma" panose="020B0604030504040204" pitchFamily="34" charset="0"/>
                <a:cs typeface="Arial" panose="020B0604020202020204" pitchFamily="34" charset="0"/>
              </a:rPr>
              <a:t> could have been performed.</a:t>
            </a:r>
            <a:endParaRPr lang="en-US" sz="2000" dirty="0">
              <a:solidFill>
                <a:schemeClr val="bg1"/>
              </a:solidFill>
            </a:endParaRPr>
          </a:p>
          <a:p>
            <a:pPr algn="just" defTabSz="1066800">
              <a:spcBef>
                <a:spcPct val="0"/>
              </a:spcBef>
              <a:spcAft>
                <a:spcPts val="600"/>
              </a:spcAft>
            </a:pPr>
            <a:endParaRPr lang="en-US"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14" name="Rectangle 13"/>
          <p:cNvSpPr/>
          <p:nvPr/>
        </p:nvSpPr>
        <p:spPr>
          <a:xfrm>
            <a:off x="769309" y="1319066"/>
            <a:ext cx="4157329" cy="4154984"/>
          </a:xfrm>
          <a:prstGeom prst="rect">
            <a:avLst/>
          </a:prstGeom>
        </p:spPr>
        <p:txBody>
          <a:bodyPr wrap="square">
            <a:spAutoFit/>
          </a:bodyPr>
          <a:lstStyle/>
          <a:p>
            <a:pPr algn="just"/>
            <a:r>
              <a:rPr lang="en-US" sz="2600" b="1" dirty="0" smtClean="0">
                <a:solidFill>
                  <a:schemeClr val="bg1"/>
                </a:solidFill>
                <a:ea typeface="Calibri" panose="020F0502020204030204" pitchFamily="34" charset="0"/>
              </a:rPr>
              <a:t>Extent of Discussion </a:t>
            </a:r>
          </a:p>
          <a:p>
            <a:pPr algn="just"/>
            <a:endParaRPr lang="en-US" sz="2000" b="1" dirty="0" smtClean="0">
              <a:solidFill>
                <a:schemeClr val="bg1"/>
              </a:solidFill>
              <a:ea typeface="Calibri" panose="020F0502020204030204" pitchFamily="34" charset="0"/>
            </a:endParaRPr>
          </a:p>
          <a:p>
            <a:pPr algn="just"/>
            <a:r>
              <a:rPr lang="en-US" sz="2000" dirty="0" smtClean="0">
                <a:solidFill>
                  <a:schemeClr val="bg1"/>
                </a:solidFill>
                <a:ea typeface="Calibri" panose="020F0502020204030204" pitchFamily="34" charset="0"/>
              </a:rPr>
              <a:t>The </a:t>
            </a:r>
            <a:r>
              <a:rPr lang="en-US" sz="2000" dirty="0">
                <a:solidFill>
                  <a:schemeClr val="bg1"/>
                </a:solidFill>
                <a:ea typeface="Calibri" panose="020F0502020204030204" pitchFamily="34" charset="0"/>
              </a:rPr>
              <a:t>informed consent discussion was done by the dentist's </a:t>
            </a:r>
            <a:r>
              <a:rPr lang="en-US" sz="2000" i="1" dirty="0">
                <a:solidFill>
                  <a:schemeClr val="bg1"/>
                </a:solidFill>
                <a:ea typeface="Calibri" panose="020F0502020204030204" pitchFamily="34" charset="0"/>
              </a:rPr>
              <a:t>assistant</a:t>
            </a:r>
            <a:r>
              <a:rPr lang="en-US" sz="2000" dirty="0">
                <a:solidFill>
                  <a:schemeClr val="bg1"/>
                </a:solidFill>
                <a:ea typeface="Calibri" panose="020F0502020204030204" pitchFamily="34" charset="0"/>
              </a:rPr>
              <a:t> (non-delegable).</a:t>
            </a:r>
          </a:p>
          <a:p>
            <a:pPr algn="just"/>
            <a:endParaRPr lang="en-US" sz="2000" dirty="0">
              <a:solidFill>
                <a:schemeClr val="bg1"/>
              </a:solidFill>
              <a:ea typeface="Calibri" panose="020F0502020204030204" pitchFamily="34" charset="0"/>
            </a:endParaRPr>
          </a:p>
          <a:p>
            <a:pPr algn="just"/>
            <a:r>
              <a:rPr lang="en-US" sz="2000" dirty="0">
                <a:solidFill>
                  <a:schemeClr val="bg1"/>
                </a:solidFill>
                <a:ea typeface="Calibri" panose="020F0502020204030204" pitchFamily="34" charset="0"/>
              </a:rPr>
              <a:t>The patient's profession as a trumpet player was not taken into consideration – there was no </a:t>
            </a:r>
            <a:r>
              <a:rPr lang="en-US" sz="2000" i="1" dirty="0">
                <a:solidFill>
                  <a:schemeClr val="bg1"/>
                </a:solidFill>
                <a:ea typeface="Calibri" panose="020F0502020204030204" pitchFamily="34" charset="0"/>
              </a:rPr>
              <a:t>specific</a:t>
            </a:r>
            <a:r>
              <a:rPr lang="en-US" sz="2000" dirty="0">
                <a:solidFill>
                  <a:schemeClr val="bg1"/>
                </a:solidFill>
                <a:ea typeface="Calibri" panose="020F0502020204030204" pitchFamily="34" charset="0"/>
              </a:rPr>
              <a:t> discussion with him about how an injury could impact his career (no </a:t>
            </a:r>
            <a:r>
              <a:rPr lang="en-US" sz="2000" i="1" dirty="0">
                <a:solidFill>
                  <a:schemeClr val="bg1"/>
                </a:solidFill>
                <a:ea typeface="Calibri" panose="020F0502020204030204" pitchFamily="34" charset="0"/>
              </a:rPr>
              <a:t>embouchure</a:t>
            </a:r>
            <a:r>
              <a:rPr lang="en-US" sz="2000" dirty="0">
                <a:solidFill>
                  <a:schemeClr val="bg1"/>
                </a:solidFill>
                <a:ea typeface="Calibri" panose="020F0502020204030204" pitchFamily="34" charset="0"/>
              </a:rPr>
              <a:t> warning). </a:t>
            </a:r>
          </a:p>
          <a:p>
            <a:pPr algn="just"/>
            <a:endParaRPr lang="en-US" dirty="0">
              <a:solidFill>
                <a:schemeClr val="bg1"/>
              </a:solidFill>
              <a:latin typeface="+mj-lt"/>
            </a:endParaRPr>
          </a:p>
        </p:txBody>
      </p:sp>
      <p:sp>
        <p:nvSpPr>
          <p:cNvPr id="15" name="Rounded Rectangle 14"/>
          <p:cNvSpPr/>
          <p:nvPr/>
        </p:nvSpPr>
        <p:spPr>
          <a:xfrm>
            <a:off x="6310646" y="3951765"/>
            <a:ext cx="5038058" cy="2085478"/>
          </a:xfrm>
          <a:prstGeom prst="roundRect">
            <a:avLst/>
          </a:prstGeom>
          <a:solidFill>
            <a:schemeClr val="accent3"/>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4" name="TextBox 3"/>
          <p:cNvSpPr txBox="1"/>
          <p:nvPr/>
        </p:nvSpPr>
        <p:spPr>
          <a:xfrm>
            <a:off x="6632154" y="4439798"/>
            <a:ext cx="4329629" cy="1172629"/>
          </a:xfrm>
          <a:prstGeom prst="rect">
            <a:avLst/>
          </a:prstGeom>
          <a:noFill/>
        </p:spPr>
        <p:txBody>
          <a:bodyPr wrap="square" rtlCol="0">
            <a:spAutoFit/>
          </a:bodyPr>
          <a:lstStyle/>
          <a:p>
            <a:pPr algn="just">
              <a:lnSpc>
                <a:spcPct val="90000"/>
              </a:lnSpc>
            </a:pPr>
            <a:r>
              <a:rPr lang="en-US" sz="2000" dirty="0">
                <a:solidFill>
                  <a:schemeClr val="bg1"/>
                </a:solidFill>
              </a:rPr>
              <a:t>The patient's claim that he did not read the informed consent document?</a:t>
            </a:r>
          </a:p>
          <a:p>
            <a:pPr algn="l">
              <a:lnSpc>
                <a:spcPct val="90000"/>
              </a:lnSpc>
            </a:pPr>
            <a:endParaRPr lang="en-US" sz="1800" dirty="0" err="1">
              <a:solidFill>
                <a:schemeClr val="tx2"/>
              </a:solidFill>
            </a:endParaRPr>
          </a:p>
        </p:txBody>
      </p:sp>
    </p:spTree>
    <p:extLst>
      <p:ext uri="{BB962C8B-B14F-4D97-AF65-F5344CB8AC3E}">
        <p14:creationId xmlns:p14="http://schemas.microsoft.com/office/powerpoint/2010/main" xmlns="" val="25171109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xmlns="" val="1075279107"/>
              </p:ext>
            </p:extLst>
          </p:nvPr>
        </p:nvGraphicFramePr>
        <p:xfrm>
          <a:off x="414731" y="415068"/>
          <a:ext cx="11337491" cy="60180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Check Mark in Circle_Cloud Blue"/>
          <p:cNvPicPr>
            <a:picLocks noChangeAspect="1"/>
          </p:cNvPicPr>
          <p:nvPr>
            <p:custDataLst>
              <p:tags r:id="rId2"/>
            </p:custDataLst>
          </p:nvPr>
        </p:nvPicPr>
        <p:blipFill rotWithShape="1">
          <a:blip r:embed="rId10"/>
          <a:srcRect l="53658" t="49361" r="4932" b="12946"/>
          <a:stretch/>
        </p:blipFill>
        <p:spPr>
          <a:xfrm>
            <a:off x="9998766" y="60545"/>
            <a:ext cx="1753456" cy="1596026"/>
          </a:xfrm>
          <a:prstGeom prst="rect">
            <a:avLst/>
          </a:prstGeom>
        </p:spPr>
      </p:pic>
      <p:sp>
        <p:nvSpPr>
          <p:cNvPr id="4" name="Slide Number Placeholder 3"/>
          <p:cNvSpPr>
            <a:spLocks noGrp="1"/>
          </p:cNvSpPr>
          <p:nvPr>
            <p:ph type="sldNum" sz="quarter" idx="12"/>
          </p:nvPr>
        </p:nvSpPr>
        <p:spPr/>
        <p:txBody>
          <a:bodyPr/>
          <a:lstStyle/>
          <a:p>
            <a:fld id="{DA135043-C596-1A48-8BDA-03EB29A64DF4}" type="slidenum">
              <a:rPr lang="en-US" smtClean="0"/>
              <a:pPr/>
              <a:t>21</a:t>
            </a:fld>
            <a:endParaRPr lang="en-US" dirty="0"/>
          </a:p>
        </p:txBody>
      </p:sp>
    </p:spTree>
    <p:custDataLst>
      <p:tags r:id="rId1"/>
    </p:custDataLst>
    <p:extLst>
      <p:ext uri="{BB962C8B-B14F-4D97-AF65-F5344CB8AC3E}">
        <p14:creationId xmlns:p14="http://schemas.microsoft.com/office/powerpoint/2010/main" xmlns="" val="3623831322"/>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operative Treatment Error </a:t>
            </a:r>
            <a:br>
              <a:rPr lang="en-US" dirty="0" smtClean="0"/>
            </a:br>
            <a:r>
              <a:rPr lang="en-US" dirty="0" smtClean="0">
                <a:solidFill>
                  <a:srgbClr val="005EC0"/>
                </a:solidFill>
              </a:rPr>
              <a:t>Surgical Errors</a:t>
            </a:r>
            <a:r>
              <a:rPr lang="en-US" dirty="0">
                <a:solidFill>
                  <a:srgbClr val="005EC0"/>
                </a:solidFill>
              </a:rPr>
              <a:t/>
            </a:r>
            <a:br>
              <a:rPr lang="en-US" dirty="0">
                <a:solidFill>
                  <a:srgbClr val="005EC0"/>
                </a:solidFill>
              </a:rPr>
            </a:br>
            <a:endParaRPr lang="en-US" dirty="0"/>
          </a:p>
        </p:txBody>
      </p:sp>
    </p:spTree>
    <p:custDataLst>
      <p:tags r:id="rId1"/>
    </p:custDataLst>
    <p:extLst>
      <p:ext uri="{BB962C8B-B14F-4D97-AF65-F5344CB8AC3E}">
        <p14:creationId xmlns:p14="http://schemas.microsoft.com/office/powerpoint/2010/main" xmlns="" val="2331255959"/>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operative: Surgical / Treatment Error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23</a:t>
            </a:fld>
            <a:endParaRPr lang="en-US" dirty="0"/>
          </a:p>
        </p:txBody>
      </p:sp>
      <p:sp>
        <p:nvSpPr>
          <p:cNvPr id="10" name="TextBox 9"/>
          <p:cNvSpPr txBox="1"/>
          <p:nvPr/>
        </p:nvSpPr>
        <p:spPr>
          <a:xfrm>
            <a:off x="414731" y="1607673"/>
            <a:ext cx="8780443" cy="1532727"/>
          </a:xfrm>
          <a:prstGeom prst="rect">
            <a:avLst/>
          </a:prstGeom>
          <a:noFill/>
        </p:spPr>
        <p:txBody>
          <a:bodyPr wrap="square" rtlCol="0">
            <a:spAutoFit/>
          </a:bodyPr>
          <a:lstStyle/>
          <a:p>
            <a:pPr marL="457200" indent="-457200" algn="l">
              <a:lnSpc>
                <a:spcPct val="90000"/>
              </a:lnSpc>
              <a:buFont typeface="Arial" panose="020B0604020202020204" pitchFamily="34" charset="0"/>
              <a:buChar char="•"/>
            </a:pPr>
            <a:r>
              <a:rPr lang="en-US" sz="2600" dirty="0" smtClean="0">
                <a:solidFill>
                  <a:schemeClr val="tx2"/>
                </a:solidFill>
              </a:rPr>
              <a:t>Poor pre-procedure planning;</a:t>
            </a:r>
          </a:p>
          <a:p>
            <a:pPr marL="457200" indent="-457200" algn="l">
              <a:lnSpc>
                <a:spcPct val="90000"/>
              </a:lnSpc>
              <a:buFont typeface="Arial" panose="020B0604020202020204" pitchFamily="34" charset="0"/>
              <a:buChar char="•"/>
            </a:pPr>
            <a:r>
              <a:rPr lang="en-US" sz="2600" dirty="0" smtClean="0">
                <a:solidFill>
                  <a:schemeClr val="tx2"/>
                </a:solidFill>
              </a:rPr>
              <a:t>Practicing beyond one's ability;</a:t>
            </a:r>
          </a:p>
          <a:p>
            <a:pPr marL="457200" indent="-457200" algn="l">
              <a:lnSpc>
                <a:spcPct val="90000"/>
              </a:lnSpc>
              <a:buFont typeface="Arial" panose="020B0604020202020204" pitchFamily="34" charset="0"/>
              <a:buChar char="•"/>
            </a:pPr>
            <a:r>
              <a:rPr lang="en-US" sz="2600" dirty="0" smtClean="0">
                <a:solidFill>
                  <a:schemeClr val="tx2"/>
                </a:solidFill>
              </a:rPr>
              <a:t>Poor communication;</a:t>
            </a:r>
          </a:p>
          <a:p>
            <a:pPr marL="457200" indent="-457200" algn="l">
              <a:lnSpc>
                <a:spcPct val="90000"/>
              </a:lnSpc>
              <a:buFont typeface="Arial" panose="020B0604020202020204" pitchFamily="34" charset="0"/>
              <a:buChar char="•"/>
            </a:pPr>
            <a:r>
              <a:rPr lang="en-US" sz="2600" dirty="0" smtClean="0">
                <a:solidFill>
                  <a:schemeClr val="tx2"/>
                </a:solidFill>
              </a:rPr>
              <a:t>Clerical errors in communication </a:t>
            </a:r>
            <a:endParaRPr lang="en-US" sz="2600" dirty="0">
              <a:solidFill>
                <a:schemeClr val="tx2"/>
              </a:solidFill>
            </a:endParaRPr>
          </a:p>
        </p:txBody>
      </p:sp>
      <p:sp>
        <p:nvSpPr>
          <p:cNvPr id="5" name="Rectangle 4"/>
          <p:cNvSpPr/>
          <p:nvPr/>
        </p:nvSpPr>
        <p:spPr>
          <a:xfrm>
            <a:off x="-301449" y="3929482"/>
            <a:ext cx="12266077" cy="2492990"/>
          </a:xfrm>
          <a:prstGeom prst="rect">
            <a:avLst/>
          </a:prstGeom>
        </p:spPr>
        <p:txBody>
          <a:bodyPr wrap="square">
            <a:spAutoFit/>
          </a:bodyPr>
          <a:lstStyle/>
          <a:p>
            <a:pPr marL="1187267" lvl="2" indent="-457200">
              <a:buFont typeface="Arial" panose="020B0604020202020204" pitchFamily="34" charset="0"/>
              <a:buChar char="•"/>
            </a:pPr>
            <a:r>
              <a:rPr lang="en-US" altLang="en-US" sz="2600" dirty="0">
                <a:solidFill>
                  <a:schemeClr val="tx2"/>
                </a:solidFill>
                <a:latin typeface="+mj-lt"/>
                <a:ea typeface="Trebuchet MS" panose="020B0703020202090204" pitchFamily="34" charset="0"/>
                <a:cs typeface="Trebuchet MS" panose="020B0703020202090204" pitchFamily="34" charset="0"/>
              </a:rPr>
              <a:t>Extraction of the </a:t>
            </a:r>
            <a:r>
              <a:rPr lang="en-US" altLang="en-US" sz="2600" u="sng" dirty="0">
                <a:solidFill>
                  <a:schemeClr val="tx2"/>
                </a:solidFill>
                <a:latin typeface="+mj-lt"/>
                <a:ea typeface="Trebuchet MS" panose="020B0703020202090204" pitchFamily="34" charset="0"/>
                <a:cs typeface="Trebuchet MS" panose="020B0703020202090204" pitchFamily="34" charset="0"/>
              </a:rPr>
              <a:t>wrong tooth</a:t>
            </a:r>
            <a:r>
              <a:rPr lang="en-US" altLang="en-US" sz="2600" dirty="0">
                <a:solidFill>
                  <a:schemeClr val="tx2"/>
                </a:solidFill>
                <a:latin typeface="+mj-lt"/>
                <a:ea typeface="Trebuchet MS" panose="020B0703020202090204" pitchFamily="34" charset="0"/>
                <a:cs typeface="Trebuchet MS" panose="020B0703020202090204" pitchFamily="34" charset="0"/>
              </a:rPr>
              <a:t>; </a:t>
            </a:r>
            <a:endParaRPr lang="en-US" altLang="en-US" sz="2600" dirty="0" smtClean="0">
              <a:solidFill>
                <a:schemeClr val="tx2"/>
              </a:solidFill>
              <a:latin typeface="+mj-lt"/>
              <a:ea typeface="Trebuchet MS" panose="020B0703020202090204" pitchFamily="34" charset="0"/>
              <a:cs typeface="Trebuchet MS" panose="020B0703020202090204" pitchFamily="34" charset="0"/>
            </a:endParaRPr>
          </a:p>
          <a:p>
            <a:pPr marL="1095102" lvl="2" indent="-365035">
              <a:buFont typeface="Arial" panose="020B0604020202020204" pitchFamily="34" charset="0"/>
              <a:buChar char="•"/>
            </a:pPr>
            <a:r>
              <a:rPr lang="en-US" altLang="en-US" sz="2600" dirty="0">
                <a:solidFill>
                  <a:schemeClr val="tx2"/>
                </a:solidFill>
                <a:latin typeface="+mj-lt"/>
                <a:ea typeface="Trebuchet MS" panose="020B0703020202090204" pitchFamily="34" charset="0"/>
                <a:cs typeface="Trebuchet MS" panose="020B0703020202090204" pitchFamily="34" charset="0"/>
              </a:rPr>
              <a:t>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Perforation </a:t>
            </a:r>
            <a:r>
              <a:rPr lang="en-US" altLang="en-US" sz="2600" u="sng" dirty="0">
                <a:solidFill>
                  <a:schemeClr val="tx2"/>
                </a:solidFill>
                <a:latin typeface="+mj-lt"/>
                <a:ea typeface="Trebuchet MS" panose="020B0703020202090204" pitchFamily="34" charset="0"/>
                <a:cs typeface="Trebuchet MS" panose="020B0703020202090204" pitchFamily="34" charset="0"/>
              </a:rPr>
              <a:t>of a root </a:t>
            </a:r>
            <a:r>
              <a:rPr lang="en-US" altLang="en-US" sz="2600" dirty="0">
                <a:solidFill>
                  <a:schemeClr val="tx2"/>
                </a:solidFill>
                <a:latin typeface="+mj-lt"/>
                <a:ea typeface="Trebuchet MS" panose="020B0703020202090204" pitchFamily="34" charset="0"/>
                <a:cs typeface="Trebuchet MS" panose="020B0703020202090204" pitchFamily="34" charset="0"/>
              </a:rPr>
              <a:t>during a root </a:t>
            </a:r>
            <a:r>
              <a:rPr lang="en-US" altLang="en-US" sz="2600" dirty="0" smtClean="0">
                <a:solidFill>
                  <a:schemeClr val="tx2"/>
                </a:solidFill>
                <a:latin typeface="+mj-lt"/>
                <a:ea typeface="Trebuchet MS" panose="020B0703020202090204" pitchFamily="34" charset="0"/>
                <a:cs typeface="Trebuchet MS" panose="020B0703020202090204" pitchFamily="34" charset="0"/>
              </a:rPr>
              <a:t>canal;</a:t>
            </a:r>
          </a:p>
          <a:p>
            <a:pPr marL="1095102" lvl="2" indent="-365035">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Wrong-sided</a:t>
            </a: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r>
              <a:rPr lang="en-US" altLang="en-US" sz="2600" dirty="0">
                <a:solidFill>
                  <a:schemeClr val="tx2"/>
                </a:solidFill>
                <a:latin typeface="+mj-lt"/>
                <a:ea typeface="Trebuchet MS" panose="020B0703020202090204" pitchFamily="34" charset="0"/>
                <a:cs typeface="Trebuchet MS" panose="020B0703020202090204" pitchFamily="34" charset="0"/>
              </a:rPr>
              <a:t>surgery; </a:t>
            </a:r>
            <a:endParaRPr lang="en-US" altLang="en-US" sz="2600" dirty="0" smtClean="0">
              <a:solidFill>
                <a:schemeClr val="tx2"/>
              </a:solidFill>
              <a:latin typeface="+mj-lt"/>
              <a:ea typeface="Trebuchet MS" panose="020B0703020202090204" pitchFamily="34" charset="0"/>
              <a:cs typeface="Trebuchet MS" panose="020B0703020202090204" pitchFamily="34" charset="0"/>
            </a:endParaRPr>
          </a:p>
          <a:p>
            <a:pPr marL="1095102" lvl="2" indent="-365035">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 Inadvertent </a:t>
            </a:r>
            <a:r>
              <a:rPr lang="en-US" altLang="en-US" sz="2600" dirty="0">
                <a:solidFill>
                  <a:schemeClr val="tx2"/>
                </a:solidFill>
                <a:latin typeface="+mj-lt"/>
                <a:ea typeface="Trebuchet MS" panose="020B0703020202090204" pitchFamily="34" charset="0"/>
                <a:cs typeface="Trebuchet MS" panose="020B0703020202090204" pitchFamily="34" charset="0"/>
              </a:rPr>
              <a:t>placement of </a:t>
            </a:r>
            <a:r>
              <a:rPr lang="en-US" altLang="en-US" sz="2600" u="sng" dirty="0">
                <a:solidFill>
                  <a:schemeClr val="tx2"/>
                </a:solidFill>
                <a:latin typeface="+mj-lt"/>
                <a:ea typeface="Trebuchet MS" panose="020B0703020202090204" pitchFamily="34" charset="0"/>
                <a:cs typeface="Trebuchet MS" panose="020B0703020202090204" pitchFamily="34" charset="0"/>
              </a:rPr>
              <a:t>implant </a:t>
            </a:r>
            <a:r>
              <a:rPr lang="en-US" altLang="en-US" sz="2600" dirty="0">
                <a:solidFill>
                  <a:schemeClr val="tx2"/>
                </a:solidFill>
                <a:latin typeface="+mj-lt"/>
                <a:ea typeface="Trebuchet MS" panose="020B0703020202090204" pitchFamily="34" charset="0"/>
                <a:cs typeface="Trebuchet MS" panose="020B0703020202090204" pitchFamily="34" charset="0"/>
              </a:rPr>
              <a:t>in IAN canal space; </a:t>
            </a:r>
            <a:r>
              <a:rPr lang="en-US" altLang="en-US" sz="2600" dirty="0" smtClean="0">
                <a:solidFill>
                  <a:schemeClr val="tx2"/>
                </a:solidFill>
                <a:latin typeface="+mj-lt"/>
                <a:ea typeface="Trebuchet MS" panose="020B0703020202090204" pitchFamily="34" charset="0"/>
                <a:cs typeface="Trebuchet MS" panose="020B0703020202090204" pitchFamily="34" charset="0"/>
              </a:rPr>
              <a:t>and</a:t>
            </a:r>
          </a:p>
          <a:p>
            <a:pPr marL="1095102" lvl="2" indent="-365035">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Severing </a:t>
            </a:r>
            <a:r>
              <a:rPr lang="en-US" altLang="en-US" sz="2600" u="sng" dirty="0">
                <a:solidFill>
                  <a:schemeClr val="tx2"/>
                </a:solidFill>
                <a:latin typeface="+mj-lt"/>
                <a:ea typeface="Trebuchet MS" panose="020B0703020202090204" pitchFamily="34" charset="0"/>
                <a:cs typeface="Trebuchet MS" panose="020B0703020202090204" pitchFamily="34" charset="0"/>
              </a:rPr>
              <a:t>or otherwise injuring a </a:t>
            </a:r>
            <a:r>
              <a:rPr lang="en-US" altLang="en-US" sz="2600" dirty="0">
                <a:solidFill>
                  <a:schemeClr val="tx2"/>
                </a:solidFill>
                <a:latin typeface="+mj-lt"/>
                <a:ea typeface="Trebuchet MS" panose="020B0703020202090204" pitchFamily="34" charset="0"/>
                <a:cs typeface="Trebuchet MS" panose="020B0703020202090204" pitchFamily="34" charset="0"/>
              </a:rPr>
              <a:t>nerve (IAN, LN) during third </a:t>
            </a:r>
            <a:r>
              <a:rPr lang="en-US" altLang="en-US" sz="2600" dirty="0" smtClean="0">
                <a:solidFill>
                  <a:schemeClr val="tx2"/>
                </a:solidFill>
                <a:latin typeface="+mj-lt"/>
                <a:ea typeface="Trebuchet MS" panose="020B0703020202090204" pitchFamily="34" charset="0"/>
                <a:cs typeface="Trebuchet MS" panose="020B0703020202090204" pitchFamily="34" charset="0"/>
              </a:rPr>
              <a:t>molar   </a:t>
            </a:r>
          </a:p>
          <a:p>
            <a:pPr marL="730067" lvl="2"/>
            <a:r>
              <a:rPr lang="en-US" altLang="en-US" sz="2600" dirty="0">
                <a:solidFill>
                  <a:schemeClr val="tx2"/>
                </a:solidFill>
                <a:latin typeface="+mj-lt"/>
                <a:ea typeface="Trebuchet MS" panose="020B0703020202090204" pitchFamily="34" charset="0"/>
                <a:cs typeface="Trebuchet MS" panose="020B0703020202090204" pitchFamily="34" charset="0"/>
              </a:rPr>
              <a:t> </a:t>
            </a:r>
            <a:r>
              <a:rPr lang="en-US" altLang="en-US" sz="2600" dirty="0" smtClean="0">
                <a:solidFill>
                  <a:schemeClr val="tx2"/>
                </a:solidFill>
                <a:latin typeface="+mj-lt"/>
                <a:ea typeface="Trebuchet MS" panose="020B0703020202090204" pitchFamily="34" charset="0"/>
                <a:cs typeface="Trebuchet MS" panose="020B0703020202090204" pitchFamily="34" charset="0"/>
              </a:rPr>
              <a:t>    extraction</a:t>
            </a:r>
            <a:endParaRPr lang="en-US" altLang="en-US" sz="2600" dirty="0">
              <a:solidFill>
                <a:schemeClr val="tx2"/>
              </a:solidFill>
              <a:latin typeface="+mj-lt"/>
              <a:ea typeface="Trebuchet MS" panose="020B0703020202090204" pitchFamily="34" charset="0"/>
              <a:cs typeface="Trebuchet MS" panose="020B0703020202090204" pitchFamily="34" charset="0"/>
            </a:endParaRPr>
          </a:p>
        </p:txBody>
      </p:sp>
      <p:sp>
        <p:nvSpPr>
          <p:cNvPr id="11" name="Rounded Rectangle 10"/>
          <p:cNvSpPr/>
          <p:nvPr/>
        </p:nvSpPr>
        <p:spPr>
          <a:xfrm>
            <a:off x="353613" y="776026"/>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Occurs due to: </a:t>
            </a:r>
            <a:endParaRPr lang="en-US" sz="2400" dirty="0">
              <a:solidFill>
                <a:schemeClr val="bg1"/>
              </a:solidFill>
            </a:endParaRPr>
          </a:p>
        </p:txBody>
      </p:sp>
      <p:sp>
        <p:nvSpPr>
          <p:cNvPr id="12" name="Rounded Rectangle 11"/>
          <p:cNvSpPr/>
          <p:nvPr/>
        </p:nvSpPr>
        <p:spPr>
          <a:xfrm>
            <a:off x="353613" y="3228989"/>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Examples:</a:t>
            </a:r>
            <a:endParaRPr lang="en-US" sz="2400" dirty="0">
              <a:solidFill>
                <a:schemeClr val="bg1"/>
              </a:solidFill>
            </a:endParaRPr>
          </a:p>
        </p:txBody>
      </p:sp>
    </p:spTree>
    <p:extLst>
      <p:ext uri="{BB962C8B-B14F-4D97-AF65-F5344CB8AC3E}">
        <p14:creationId xmlns:p14="http://schemas.microsoft.com/office/powerpoint/2010/main" xmlns="" val="7759422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227445" y="233509"/>
            <a:ext cx="11058131" cy="4817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a:t>
            </a:r>
            <a:r>
              <a:rPr lang="en-US" sz="2700" dirty="0" err="1">
                <a:latin typeface="Arial" panose="020B0604020202020204" pitchFamily="34" charset="0"/>
              </a:rPr>
              <a:t>st</a:t>
            </a:r>
            <a:r>
              <a:rPr lang="en-US" sz="2700" dirty="0">
                <a:latin typeface="Arial" panose="020B0604020202020204" pitchFamily="34" charset="0"/>
              </a:rPr>
              <a:t> </a:t>
            </a:r>
            <a:r>
              <a:rPr lang="en-US" sz="2700" dirty="0" err="1" smtClean="0">
                <a:latin typeface="Arial" panose="020B0604020202020204" pitchFamily="34" charset="0"/>
              </a:rPr>
              <a:t>dicate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xmlns="" val="3653024683"/>
              </p:ext>
            </p:extLst>
          </p:nvPr>
        </p:nvGraphicFramePr>
        <p:xfrm>
          <a:off x="533401" y="1008973"/>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smtClean="0">
                <a:solidFill>
                  <a:srgbClr val="002F6B"/>
                </a:solidFill>
                <a:latin typeface="Arial" panose="020B0604020202020204" pitchFamily="34" charset="0"/>
              </a:rPr>
              <a:t>Case Study #2: </a:t>
            </a:r>
            <a:r>
              <a:rPr lang="en-US" dirty="0" smtClean="0"/>
              <a:t>Preoperative Treatment Errors: Surgical Pre-Op</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pPr/>
              <a:t>24</a:t>
            </a:fld>
            <a:endParaRPr lang="en-US" dirty="0"/>
          </a:p>
        </p:txBody>
      </p:sp>
      <p:pic>
        <p:nvPicPr>
          <p:cNvPr id="7" name="Picture 6">
            <a:extLst>
              <a:ext uri="{FF2B5EF4-FFF2-40B4-BE49-F238E27FC236}">
                <a16:creationId xmlns:a16="http://schemas.microsoft.com/office/drawing/2014/main" xmlns="" id="{BE90C3E6-DE36-A1D7-16CB-8F86E2AE4A55}"/>
              </a:ext>
            </a:extLst>
          </p:cNvPr>
          <p:cNvPicPr>
            <a:picLocks noChangeAspect="1"/>
          </p:cNvPicPr>
          <p:nvPr/>
        </p:nvPicPr>
        <p:blipFill rotWithShape="1">
          <a:blip r:embed="rId9">
            <a:extLst>
              <a:ext uri="{28A0092B-C50C-407E-A947-70E740481C1C}">
                <a14:useLocalDpi xmlns:a14="http://schemas.microsoft.com/office/drawing/2010/main" xmlns="" val="0"/>
              </a:ext>
            </a:extLst>
          </a:blip>
          <a:srcRect t="5255"/>
          <a:stretch/>
        </p:blipFill>
        <p:spPr>
          <a:xfrm>
            <a:off x="2273635" y="3923475"/>
            <a:ext cx="8400330" cy="2013373"/>
          </a:xfrm>
          <a:prstGeom prst="rect">
            <a:avLst/>
          </a:prstGeom>
        </p:spPr>
      </p:pic>
      <p:sp>
        <p:nvSpPr>
          <p:cNvPr id="8" name="Oval 7"/>
          <p:cNvSpPr/>
          <p:nvPr/>
        </p:nvSpPr>
        <p:spPr>
          <a:xfrm>
            <a:off x="2831453" y="5624465"/>
            <a:ext cx="1626189" cy="312383"/>
          </a:xfrm>
          <a:prstGeom prst="ellipse">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975" dirty="0"/>
          </a:p>
        </p:txBody>
      </p:sp>
      <p:sp>
        <p:nvSpPr>
          <p:cNvPr id="10" name="Oval 9"/>
          <p:cNvSpPr/>
          <p:nvPr/>
        </p:nvSpPr>
        <p:spPr>
          <a:xfrm>
            <a:off x="2575493" y="4029061"/>
            <a:ext cx="1308748" cy="276307"/>
          </a:xfrm>
          <a:prstGeom prst="ellipse">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975" dirty="0"/>
          </a:p>
        </p:txBody>
      </p:sp>
    </p:spTree>
    <p:custDataLst>
      <p:tags r:id="rId1"/>
    </p:custDataLst>
    <p:extLst>
      <p:ext uri="{BB962C8B-B14F-4D97-AF65-F5344CB8AC3E}">
        <p14:creationId xmlns:p14="http://schemas.microsoft.com/office/powerpoint/2010/main" xmlns="" val="162987505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a:t>
            </a:r>
            <a:r>
              <a:rPr lang="en-US" sz="2700" dirty="0" err="1">
                <a:latin typeface="Arial" panose="020B0604020202020204" pitchFamily="34" charset="0"/>
              </a:rPr>
              <a:t>st</a:t>
            </a:r>
            <a:r>
              <a:rPr lang="en-US" sz="2700" dirty="0">
                <a:latin typeface="Arial" panose="020B0604020202020204" pitchFamily="34" charset="0"/>
              </a:rPr>
              <a:t> </a:t>
            </a:r>
            <a:r>
              <a:rPr lang="en-US" sz="2700" dirty="0" smtClean="0">
                <a:latin typeface="Arial" panose="020B0604020202020204" pitchFamily="34" charset="0"/>
              </a:rPr>
              <a:t>dicati3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xmlns="" val="4234444508"/>
              </p:ext>
            </p:extLst>
          </p:nvPr>
        </p:nvGraphicFramePr>
        <p:xfrm>
          <a:off x="533401" y="1008973"/>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Case Study #2: </a:t>
            </a:r>
            <a:r>
              <a:rPr lang="en-US" dirty="0"/>
              <a:t>Preoperative Treatment Errors: Surgical Pre-Op</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pPr/>
              <a:t>25</a:t>
            </a:fld>
            <a:endParaRPr lang="en-US" dirty="0"/>
          </a:p>
        </p:txBody>
      </p:sp>
      <p:pic>
        <p:nvPicPr>
          <p:cNvPr id="11" name="Picture 10">
            <a:extLst>
              <a:ext uri="{FF2B5EF4-FFF2-40B4-BE49-F238E27FC236}">
                <a16:creationId xmlns:a16="http://schemas.microsoft.com/office/drawing/2014/main" xmlns="" id="{CC4094C5-36C7-3E29-3A86-1F72FD445C51}"/>
              </a:ext>
            </a:extLst>
          </p:cNvPr>
          <p:cNvPicPr>
            <a:picLocks noChangeAspect="1"/>
          </p:cNvPicPr>
          <p:nvPr/>
        </p:nvPicPr>
        <p:blipFill rotWithShape="1">
          <a:blip r:embed="rId9">
            <a:extLst>
              <a:ext uri="{28A0092B-C50C-407E-A947-70E740481C1C}">
                <a14:useLocalDpi xmlns:a14="http://schemas.microsoft.com/office/drawing/2010/main" xmlns="" val="0"/>
              </a:ext>
            </a:extLst>
          </a:blip>
          <a:srcRect b="14601"/>
          <a:stretch/>
        </p:blipFill>
        <p:spPr>
          <a:xfrm>
            <a:off x="2558865" y="1483084"/>
            <a:ext cx="5219799" cy="1173490"/>
          </a:xfrm>
          <a:prstGeom prst="rect">
            <a:avLst/>
          </a:prstGeom>
        </p:spPr>
      </p:pic>
      <p:sp>
        <p:nvSpPr>
          <p:cNvPr id="10" name="Oval 9"/>
          <p:cNvSpPr/>
          <p:nvPr/>
        </p:nvSpPr>
        <p:spPr>
          <a:xfrm>
            <a:off x="6810610" y="1857676"/>
            <a:ext cx="745222" cy="205597"/>
          </a:xfrm>
          <a:prstGeom prst="ellipse">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975" dirty="0"/>
          </a:p>
        </p:txBody>
      </p:sp>
      <p:sp>
        <p:nvSpPr>
          <p:cNvPr id="8" name="Oval 7"/>
          <p:cNvSpPr/>
          <p:nvPr/>
        </p:nvSpPr>
        <p:spPr>
          <a:xfrm>
            <a:off x="2473120" y="2352879"/>
            <a:ext cx="597912" cy="209816"/>
          </a:xfrm>
          <a:prstGeom prst="ellipse">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975" dirty="0"/>
          </a:p>
        </p:txBody>
      </p:sp>
      <p:sp>
        <p:nvSpPr>
          <p:cNvPr id="4" name="TextBox 3"/>
          <p:cNvSpPr txBox="1"/>
          <p:nvPr/>
        </p:nvSpPr>
        <p:spPr>
          <a:xfrm>
            <a:off x="2558865" y="3118585"/>
            <a:ext cx="8500562" cy="2712537"/>
          </a:xfrm>
          <a:prstGeom prst="rect">
            <a:avLst/>
          </a:prstGeom>
          <a:noFill/>
        </p:spPr>
        <p:txBody>
          <a:bodyPr wrap="square" rtlCol="0">
            <a:spAutoFit/>
          </a:bodyPr>
          <a:lstStyle/>
          <a:p>
            <a:pPr algn="just">
              <a:lnSpc>
                <a:spcPct val="107000"/>
              </a:lnSpc>
              <a:spcBef>
                <a:spcPts val="0"/>
              </a:spcBef>
              <a:spcAft>
                <a:spcPts val="0"/>
              </a:spcAft>
            </a:pPr>
            <a:r>
              <a:rPr lang="en-US" dirty="0" smtClean="0">
                <a:solidFill>
                  <a:schemeClr val="tx2"/>
                </a:solidFill>
                <a:latin typeface="+mj-lt"/>
                <a:cs typeface="Times New Roman" panose="02020603050405020304" pitchFamily="18" charset="0"/>
              </a:rPr>
              <a:t>The </a:t>
            </a:r>
            <a:r>
              <a:rPr lang="en-US" dirty="0" err="1" smtClean="0">
                <a:solidFill>
                  <a:schemeClr val="tx2"/>
                </a:solidFill>
                <a:latin typeface="+mj-lt"/>
                <a:cs typeface="Times New Roman" panose="02020603050405020304" pitchFamily="18" charset="0"/>
              </a:rPr>
              <a:t>Perio</a:t>
            </a:r>
            <a:r>
              <a:rPr lang="en-US" dirty="0" smtClean="0">
                <a:solidFill>
                  <a:schemeClr val="tx2"/>
                </a:solidFill>
                <a:latin typeface="+mj-lt"/>
                <a:cs typeface="Times New Roman" panose="02020603050405020304" pitchFamily="18" charset="0"/>
              </a:rPr>
              <a:t> </a:t>
            </a:r>
            <a:r>
              <a:rPr lang="en-US" dirty="0">
                <a:solidFill>
                  <a:schemeClr val="tx2"/>
                </a:solidFill>
                <a:latin typeface="+mj-lt"/>
                <a:cs typeface="Times New Roman" panose="02020603050405020304" pitchFamily="18" charset="0"/>
              </a:rPr>
              <a:t>wrote a referral to an </a:t>
            </a:r>
            <a:r>
              <a:rPr lang="en-US" dirty="0" smtClean="0">
                <a:solidFill>
                  <a:schemeClr val="tx2"/>
                </a:solidFill>
                <a:latin typeface="+mj-lt"/>
                <a:cs typeface="Times New Roman" panose="02020603050405020304" pitchFamily="18" charset="0"/>
              </a:rPr>
              <a:t>OMS </a:t>
            </a:r>
            <a:r>
              <a:rPr lang="en-US" dirty="0">
                <a:solidFill>
                  <a:schemeClr val="tx2"/>
                </a:solidFill>
                <a:latin typeface="+mj-lt"/>
                <a:cs typeface="Times New Roman" panose="02020603050405020304" pitchFamily="18" charset="0"/>
              </a:rPr>
              <a:t>stating “an area of concern around </a:t>
            </a:r>
            <a:r>
              <a:rPr lang="en-US" b="1" u="sng" dirty="0">
                <a:solidFill>
                  <a:schemeClr val="tx2"/>
                </a:solidFill>
                <a:latin typeface="+mj-lt"/>
                <a:cs typeface="Times New Roman" panose="02020603050405020304" pitchFamily="18" charset="0"/>
              </a:rPr>
              <a:t>#30 and #31</a:t>
            </a:r>
            <a:r>
              <a:rPr lang="en-US" dirty="0" smtClean="0">
                <a:solidFill>
                  <a:schemeClr val="tx2"/>
                </a:solidFill>
                <a:latin typeface="+mj-lt"/>
                <a:cs typeface="Times New Roman" panose="02020603050405020304" pitchFamily="18" charset="0"/>
              </a:rPr>
              <a:t>”.</a:t>
            </a:r>
          </a:p>
          <a:p>
            <a:pPr algn="just">
              <a:lnSpc>
                <a:spcPct val="107000"/>
              </a:lnSpc>
              <a:spcBef>
                <a:spcPts val="0"/>
              </a:spcBef>
              <a:spcAft>
                <a:spcPts val="0"/>
              </a:spcAft>
            </a:pPr>
            <a:endParaRPr lang="en-US" dirty="0">
              <a:solidFill>
                <a:schemeClr val="tx2"/>
              </a:solidFill>
              <a:latin typeface="+mj-lt"/>
              <a:cs typeface="Times New Roman" panose="02020603050405020304" pitchFamily="18" charset="0"/>
            </a:endParaRPr>
          </a:p>
          <a:p>
            <a:pPr algn="just">
              <a:lnSpc>
                <a:spcPct val="107000"/>
              </a:lnSpc>
              <a:spcBef>
                <a:spcPts val="0"/>
              </a:spcBef>
              <a:spcAft>
                <a:spcPts val="0"/>
              </a:spcAft>
            </a:pPr>
            <a:r>
              <a:rPr lang="en-US" dirty="0" smtClean="0">
                <a:solidFill>
                  <a:schemeClr val="tx2"/>
                </a:solidFill>
                <a:latin typeface="+mj-lt"/>
                <a:cs typeface="Times New Roman" panose="02020603050405020304" pitchFamily="18" charset="0"/>
              </a:rPr>
              <a:t>The </a:t>
            </a:r>
            <a:r>
              <a:rPr lang="en-US" dirty="0">
                <a:solidFill>
                  <a:schemeClr val="tx2"/>
                </a:solidFill>
                <a:latin typeface="+mj-lt"/>
                <a:cs typeface="Times New Roman" panose="02020603050405020304" pitchFamily="18" charset="0"/>
              </a:rPr>
              <a:t>OMFS examined the patient, and noted an abnormality on the </a:t>
            </a:r>
            <a:r>
              <a:rPr lang="en-US" b="1" u="sng" dirty="0">
                <a:solidFill>
                  <a:schemeClr val="tx2"/>
                </a:solidFill>
                <a:latin typeface="+mj-lt"/>
                <a:cs typeface="Times New Roman" panose="02020603050405020304" pitchFamily="18" charset="0"/>
              </a:rPr>
              <a:t>left side</a:t>
            </a:r>
            <a:r>
              <a:rPr lang="en-US" dirty="0">
                <a:solidFill>
                  <a:schemeClr val="tx2"/>
                </a:solidFill>
                <a:latin typeface="+mj-lt"/>
                <a:cs typeface="Times New Roman" panose="02020603050405020304" pitchFamily="18" charset="0"/>
              </a:rPr>
              <a:t> of the patient’s </a:t>
            </a:r>
            <a:r>
              <a:rPr lang="en-US" dirty="0" smtClean="0">
                <a:solidFill>
                  <a:schemeClr val="tx2"/>
                </a:solidFill>
                <a:latin typeface="+mj-lt"/>
                <a:cs typeface="Times New Roman" panose="02020603050405020304" pitchFamily="18" charset="0"/>
              </a:rPr>
              <a:t>mouth.</a:t>
            </a:r>
          </a:p>
          <a:p>
            <a:pPr algn="just">
              <a:lnSpc>
                <a:spcPct val="107000"/>
              </a:lnSpc>
              <a:spcBef>
                <a:spcPts val="0"/>
              </a:spcBef>
              <a:spcAft>
                <a:spcPts val="0"/>
              </a:spcAft>
            </a:pPr>
            <a:endParaRPr lang="en-US" dirty="0">
              <a:solidFill>
                <a:schemeClr val="tx2"/>
              </a:solidFill>
              <a:latin typeface="+mj-lt"/>
              <a:cs typeface="Times New Roman" panose="02020603050405020304" pitchFamily="18" charset="0"/>
            </a:endParaRPr>
          </a:p>
          <a:p>
            <a:pPr algn="just">
              <a:lnSpc>
                <a:spcPct val="107000"/>
              </a:lnSpc>
              <a:spcBef>
                <a:spcPts val="0"/>
              </a:spcBef>
              <a:spcAft>
                <a:spcPts val="0"/>
              </a:spcAft>
            </a:pPr>
            <a:r>
              <a:rPr lang="en-US" dirty="0" smtClean="0">
                <a:solidFill>
                  <a:schemeClr val="tx2"/>
                </a:solidFill>
                <a:latin typeface="+mj-lt"/>
                <a:cs typeface="Times New Roman" panose="02020603050405020304" pitchFamily="18" charset="0"/>
              </a:rPr>
              <a:t>The </a:t>
            </a:r>
            <a:r>
              <a:rPr lang="en-US" dirty="0">
                <a:solidFill>
                  <a:schemeClr val="tx2"/>
                </a:solidFill>
                <a:latin typeface="+mj-lt"/>
                <a:cs typeface="Times New Roman" panose="02020603050405020304" pitchFamily="18" charset="0"/>
              </a:rPr>
              <a:t>OMFS scheduled the patient in hospital for a “</a:t>
            </a:r>
            <a:r>
              <a:rPr lang="en-US" u="sng" dirty="0">
                <a:solidFill>
                  <a:schemeClr val="tx2"/>
                </a:solidFill>
                <a:latin typeface="+mj-lt"/>
                <a:cs typeface="Times New Roman" panose="02020603050405020304" pitchFamily="18" charset="0"/>
              </a:rPr>
              <a:t>limited marginal </a:t>
            </a:r>
            <a:r>
              <a:rPr lang="en-US" u="sng" dirty="0" err="1">
                <a:solidFill>
                  <a:schemeClr val="tx2"/>
                </a:solidFill>
                <a:latin typeface="+mj-lt"/>
                <a:cs typeface="Times New Roman" panose="02020603050405020304" pitchFamily="18" charset="0"/>
              </a:rPr>
              <a:t>mandibulectomy</a:t>
            </a:r>
            <a:r>
              <a:rPr lang="en-US" u="sng" dirty="0">
                <a:solidFill>
                  <a:schemeClr val="tx2"/>
                </a:solidFill>
                <a:latin typeface="+mj-lt"/>
                <a:cs typeface="Times New Roman" panose="02020603050405020304" pitchFamily="18" charset="0"/>
              </a:rPr>
              <a:t> including a modified radical neck dissection</a:t>
            </a:r>
            <a:r>
              <a:rPr lang="en-US" dirty="0">
                <a:solidFill>
                  <a:schemeClr val="tx2"/>
                </a:solidFill>
                <a:latin typeface="+mj-lt"/>
                <a:cs typeface="Times New Roman" panose="02020603050405020304" pitchFamily="18" charset="0"/>
              </a:rPr>
              <a:t>”.</a:t>
            </a:r>
          </a:p>
          <a:p>
            <a:pPr algn="l">
              <a:lnSpc>
                <a:spcPct val="90000"/>
              </a:lnSpc>
            </a:pPr>
            <a:endParaRPr lang="en-US" sz="1800" dirty="0" err="1">
              <a:solidFill>
                <a:schemeClr val="tx2"/>
              </a:solidFill>
            </a:endParaRPr>
          </a:p>
        </p:txBody>
      </p:sp>
    </p:spTree>
    <p:custDataLst>
      <p:tags r:id="rId1"/>
    </p:custDataLst>
    <p:extLst>
      <p:ext uri="{BB962C8B-B14F-4D97-AF65-F5344CB8AC3E}">
        <p14:creationId xmlns:p14="http://schemas.microsoft.com/office/powerpoint/2010/main" xmlns="" val="405848226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a:t>
            </a:r>
            <a:r>
              <a:rPr lang="en-US" sz="2700" dirty="0" err="1">
                <a:latin typeface="Arial" panose="020B0604020202020204" pitchFamily="34" charset="0"/>
              </a:rPr>
              <a:t>st</a:t>
            </a:r>
            <a:r>
              <a:rPr lang="en-US" sz="2700" dirty="0">
                <a:latin typeface="Arial" panose="020B0604020202020204" pitchFamily="34" charset="0"/>
              </a:rPr>
              <a:t> </a:t>
            </a:r>
            <a:r>
              <a:rPr lang="en-US" sz="2700" dirty="0" smtClean="0">
                <a:latin typeface="Arial" panose="020B0604020202020204" pitchFamily="34" charset="0"/>
              </a:rPr>
              <a:t>dicati3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xmlns="" val="2805336923"/>
              </p:ext>
            </p:extLst>
          </p:nvPr>
        </p:nvGraphicFramePr>
        <p:xfrm>
          <a:off x="533401" y="1008973"/>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Case Study #2: </a:t>
            </a:r>
            <a:r>
              <a:rPr lang="en-US" dirty="0"/>
              <a:t>Preoperative Treatment Errors: Surgical Pre-Op</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pPr/>
              <a:t>26</a:t>
            </a:fld>
            <a:endParaRPr lang="en-US" dirty="0"/>
          </a:p>
        </p:txBody>
      </p:sp>
      <p:sp>
        <p:nvSpPr>
          <p:cNvPr id="7" name="TextBox 6"/>
          <p:cNvSpPr txBox="1"/>
          <p:nvPr/>
        </p:nvSpPr>
        <p:spPr>
          <a:xfrm>
            <a:off x="2502569" y="2675823"/>
            <a:ext cx="8778240" cy="2976199"/>
          </a:xfrm>
          <a:prstGeom prst="rect">
            <a:avLst/>
          </a:prstGeom>
          <a:noFill/>
        </p:spPr>
        <p:txBody>
          <a:bodyPr wrap="square" rtlCol="0">
            <a:spAutoFit/>
          </a:bodyPr>
          <a:lstStyle/>
          <a:p>
            <a:pPr>
              <a:lnSpc>
                <a:spcPct val="107000"/>
              </a:lnSpc>
              <a:spcBef>
                <a:spcPts val="0"/>
              </a:spcBef>
              <a:spcAft>
                <a:spcPts val="0"/>
              </a:spcAft>
            </a:pPr>
            <a:r>
              <a:rPr lang="en-US" sz="2000" dirty="0">
                <a:solidFill>
                  <a:schemeClr val="tx2"/>
                </a:solidFill>
                <a:latin typeface="+mj-lt"/>
                <a:cs typeface="Times New Roman" panose="02020603050405020304" pitchFamily="18" charset="0"/>
              </a:rPr>
              <a:t>The </a:t>
            </a:r>
            <a:r>
              <a:rPr lang="en-US" sz="2000" dirty="0" smtClean="0">
                <a:solidFill>
                  <a:schemeClr val="tx2"/>
                </a:solidFill>
                <a:latin typeface="+mj-lt"/>
                <a:cs typeface="Times New Roman" panose="02020603050405020304" pitchFamily="18" charset="0"/>
              </a:rPr>
              <a:t>OMS </a:t>
            </a:r>
            <a:r>
              <a:rPr lang="en-US" sz="2000" u="sng" dirty="0">
                <a:solidFill>
                  <a:schemeClr val="tx2"/>
                </a:solidFill>
                <a:latin typeface="+mj-lt"/>
                <a:cs typeface="Times New Roman" panose="02020603050405020304" pitchFamily="18" charset="0"/>
              </a:rPr>
              <a:t>did not</a:t>
            </a:r>
            <a:r>
              <a:rPr lang="en-US" sz="2000" dirty="0">
                <a:solidFill>
                  <a:schemeClr val="tx2"/>
                </a:solidFill>
                <a:latin typeface="+mj-lt"/>
                <a:cs typeface="Times New Roman" panose="02020603050405020304" pitchFamily="18" charset="0"/>
              </a:rPr>
              <a:t> speak with the patient beforehand.</a:t>
            </a:r>
          </a:p>
          <a:p>
            <a:pPr>
              <a:lnSpc>
                <a:spcPct val="107000"/>
              </a:lnSpc>
              <a:spcBef>
                <a:spcPts val="0"/>
              </a:spcBef>
              <a:spcAft>
                <a:spcPts val="0"/>
              </a:spcAft>
            </a:pPr>
            <a:endParaRPr lang="en-US" sz="2000" dirty="0" smtClean="0">
              <a:solidFill>
                <a:schemeClr val="tx2"/>
              </a:solidFill>
              <a:latin typeface="+mj-lt"/>
              <a:cs typeface="Times New Roman" panose="02020603050405020304" pitchFamily="18" charset="0"/>
            </a:endParaRPr>
          </a:p>
          <a:p>
            <a:pPr>
              <a:lnSpc>
                <a:spcPct val="107000"/>
              </a:lnSpc>
              <a:spcBef>
                <a:spcPts val="0"/>
              </a:spcBef>
              <a:spcAft>
                <a:spcPts val="0"/>
              </a:spcAft>
            </a:pPr>
            <a:r>
              <a:rPr lang="en-US" sz="2000" dirty="0" smtClean="0">
                <a:solidFill>
                  <a:schemeClr val="tx2"/>
                </a:solidFill>
                <a:latin typeface="+mj-lt"/>
                <a:cs typeface="Times New Roman" panose="02020603050405020304" pitchFamily="18" charset="0"/>
              </a:rPr>
              <a:t>Intraoperatively</a:t>
            </a:r>
            <a:r>
              <a:rPr lang="en-US" sz="2000" dirty="0">
                <a:solidFill>
                  <a:schemeClr val="tx2"/>
                </a:solidFill>
                <a:latin typeface="+mj-lt"/>
                <a:cs typeface="Times New Roman" panose="02020603050405020304" pitchFamily="18" charset="0"/>
              </a:rPr>
              <a:t>, he prepared the </a:t>
            </a:r>
            <a:r>
              <a:rPr lang="en-US" sz="2000" b="1" u="sng" dirty="0">
                <a:solidFill>
                  <a:schemeClr val="tx2"/>
                </a:solidFill>
                <a:latin typeface="+mj-lt"/>
                <a:cs typeface="Times New Roman" panose="02020603050405020304" pitchFamily="18" charset="0"/>
              </a:rPr>
              <a:t>right side</a:t>
            </a:r>
            <a:r>
              <a:rPr lang="en-US" sz="2000" dirty="0">
                <a:solidFill>
                  <a:schemeClr val="tx2"/>
                </a:solidFill>
                <a:latin typeface="+mj-lt"/>
                <a:cs typeface="Times New Roman" panose="02020603050405020304" pitchFamily="18" charset="0"/>
              </a:rPr>
              <a:t> of the patient’s mouth. The OR team </a:t>
            </a:r>
            <a:r>
              <a:rPr lang="en-US" sz="2000" u="sng" dirty="0">
                <a:solidFill>
                  <a:schemeClr val="tx2"/>
                </a:solidFill>
                <a:latin typeface="+mj-lt"/>
                <a:cs typeface="Times New Roman" panose="02020603050405020304" pitchFamily="18" charset="0"/>
              </a:rPr>
              <a:t>stopped the </a:t>
            </a:r>
            <a:r>
              <a:rPr lang="en-US" sz="2000" u="sng" dirty="0" smtClean="0">
                <a:solidFill>
                  <a:schemeClr val="tx2"/>
                </a:solidFill>
                <a:latin typeface="+mj-lt"/>
                <a:cs typeface="Times New Roman" panose="02020603050405020304" pitchFamily="18" charset="0"/>
              </a:rPr>
              <a:t>OMSS</a:t>
            </a:r>
            <a:r>
              <a:rPr lang="en-US" sz="2000" dirty="0">
                <a:solidFill>
                  <a:schemeClr val="tx2"/>
                </a:solidFill>
                <a:latin typeface="+mj-lt"/>
                <a:cs typeface="Times New Roman" panose="02020603050405020304" pitchFamily="18" charset="0"/>
              </a:rPr>
              <a:t>, and stated per the patient and </a:t>
            </a:r>
            <a:r>
              <a:rPr lang="en-US" sz="2000" dirty="0" smtClean="0">
                <a:solidFill>
                  <a:schemeClr val="tx2"/>
                </a:solidFill>
                <a:latin typeface="+mj-lt"/>
                <a:cs typeface="Times New Roman" panose="02020603050405020304" pitchFamily="18" charset="0"/>
              </a:rPr>
              <a:t>the Anesthesiologist, </a:t>
            </a:r>
            <a:r>
              <a:rPr lang="en-US" sz="2000" dirty="0">
                <a:solidFill>
                  <a:schemeClr val="tx2"/>
                </a:solidFill>
                <a:latin typeface="+mj-lt"/>
                <a:cs typeface="Times New Roman" panose="02020603050405020304" pitchFamily="18" charset="0"/>
              </a:rPr>
              <a:t>this was the wrong side.</a:t>
            </a:r>
          </a:p>
          <a:p>
            <a:pPr>
              <a:lnSpc>
                <a:spcPct val="107000"/>
              </a:lnSpc>
              <a:spcBef>
                <a:spcPts val="0"/>
              </a:spcBef>
              <a:spcAft>
                <a:spcPts val="0"/>
              </a:spcAft>
            </a:pPr>
            <a:endParaRPr lang="en-US" sz="2000" dirty="0" smtClean="0">
              <a:solidFill>
                <a:schemeClr val="tx2"/>
              </a:solidFill>
              <a:latin typeface="+mj-lt"/>
              <a:cs typeface="Times New Roman" panose="02020603050405020304" pitchFamily="18" charset="0"/>
            </a:endParaRPr>
          </a:p>
          <a:p>
            <a:pPr>
              <a:lnSpc>
                <a:spcPct val="107000"/>
              </a:lnSpc>
              <a:spcBef>
                <a:spcPts val="0"/>
              </a:spcBef>
              <a:spcAft>
                <a:spcPts val="0"/>
              </a:spcAft>
            </a:pPr>
            <a:r>
              <a:rPr lang="en-US" sz="2000" dirty="0" smtClean="0">
                <a:solidFill>
                  <a:schemeClr val="tx2"/>
                </a:solidFill>
                <a:latin typeface="+mj-lt"/>
                <a:cs typeface="Times New Roman" panose="02020603050405020304" pitchFamily="18" charset="0"/>
              </a:rPr>
              <a:t>The OMS </a:t>
            </a:r>
            <a:r>
              <a:rPr lang="en-US" sz="2000" dirty="0">
                <a:solidFill>
                  <a:schemeClr val="tx2"/>
                </a:solidFill>
                <a:latin typeface="+mj-lt"/>
                <a:cs typeface="Times New Roman" panose="02020603050405020304" pitchFamily="18" charset="0"/>
              </a:rPr>
              <a:t>reviewed: (1) the referral from the </a:t>
            </a:r>
            <a:r>
              <a:rPr lang="en-US" sz="2000" dirty="0" err="1" smtClean="0">
                <a:solidFill>
                  <a:schemeClr val="tx2"/>
                </a:solidFill>
                <a:latin typeface="+mj-lt"/>
                <a:cs typeface="Times New Roman" panose="02020603050405020304" pitchFamily="18" charset="0"/>
              </a:rPr>
              <a:t>Perio</a:t>
            </a:r>
            <a:r>
              <a:rPr lang="en-US" sz="2000" dirty="0" smtClean="0">
                <a:solidFill>
                  <a:schemeClr val="tx2"/>
                </a:solidFill>
                <a:latin typeface="+mj-lt"/>
                <a:cs typeface="Times New Roman" panose="02020603050405020304" pitchFamily="18" charset="0"/>
              </a:rPr>
              <a:t>, </a:t>
            </a:r>
            <a:r>
              <a:rPr lang="en-US" sz="2000" dirty="0">
                <a:solidFill>
                  <a:schemeClr val="tx2"/>
                </a:solidFill>
                <a:latin typeface="+mj-lt"/>
                <a:cs typeface="Times New Roman" panose="02020603050405020304" pitchFamily="18" charset="0"/>
              </a:rPr>
              <a:t>(2) the second pathology report.</a:t>
            </a:r>
          </a:p>
          <a:p>
            <a:pPr algn="l">
              <a:lnSpc>
                <a:spcPct val="90000"/>
              </a:lnSpc>
            </a:pPr>
            <a:endParaRPr lang="en-US" sz="1800" dirty="0" err="1">
              <a:solidFill>
                <a:schemeClr val="tx2"/>
              </a:solidFill>
            </a:endParaRPr>
          </a:p>
        </p:txBody>
      </p:sp>
    </p:spTree>
    <p:custDataLst>
      <p:tags r:id="rId1"/>
    </p:custDataLst>
    <p:extLst>
      <p:ext uri="{BB962C8B-B14F-4D97-AF65-F5344CB8AC3E}">
        <p14:creationId xmlns:p14="http://schemas.microsoft.com/office/powerpoint/2010/main" xmlns="" val="1965570083"/>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a:t>
            </a:r>
            <a:r>
              <a:rPr lang="en-US" sz="2700" dirty="0" err="1">
                <a:latin typeface="Arial" panose="020B0604020202020204" pitchFamily="34" charset="0"/>
              </a:rPr>
              <a:t>st</a:t>
            </a:r>
            <a:r>
              <a:rPr lang="en-US" sz="2700" dirty="0">
                <a:latin typeface="Arial" panose="020B0604020202020204" pitchFamily="34" charset="0"/>
              </a:rPr>
              <a:t> </a:t>
            </a:r>
            <a:r>
              <a:rPr lang="en-US" sz="2700" dirty="0" smtClean="0">
                <a:latin typeface="Arial" panose="020B0604020202020204" pitchFamily="34" charset="0"/>
              </a:rPr>
              <a:t>dicati3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xmlns="" val="2073072570"/>
              </p:ext>
            </p:extLst>
          </p:nvPr>
        </p:nvGraphicFramePr>
        <p:xfrm>
          <a:off x="533401" y="1008973"/>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Case Study #2: </a:t>
            </a:r>
            <a:r>
              <a:rPr lang="en-US" dirty="0"/>
              <a:t>Preoperative Treatment Errors: Surgical Pre-Op</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pPr/>
              <a:t>27</a:t>
            </a:fld>
            <a:endParaRPr lang="en-US" dirty="0"/>
          </a:p>
        </p:txBody>
      </p:sp>
      <p:pic>
        <p:nvPicPr>
          <p:cNvPr id="8" name="Content Placeholder 1">
            <a:extLst>
              <a:ext uri="{FF2B5EF4-FFF2-40B4-BE49-F238E27FC236}">
                <a16:creationId xmlns:a16="http://schemas.microsoft.com/office/drawing/2014/main" xmlns="" id="{D0079444-31E8-5241-B797-D4EF0EB41B22}"/>
              </a:ext>
            </a:extLst>
          </p:cNvPr>
          <p:cNvPicPr>
            <a:picLocks noChangeAspect="1"/>
          </p:cNvPicPr>
          <p:nvPr/>
        </p:nvPicPr>
        <p:blipFill>
          <a:blip r:embed="rId9">
            <a:extLst>
              <a:ext uri="{28A0092B-C50C-407E-A947-70E740481C1C}">
                <a14:useLocalDpi xmlns:a14="http://schemas.microsoft.com/office/drawing/2010/main" xmlns="" val="0"/>
              </a:ext>
            </a:extLst>
          </a:blip>
          <a:srcRect t="34650"/>
          <a:stretch>
            <a:fillRect/>
          </a:stretch>
        </p:blipFill>
        <p:spPr bwMode="auto">
          <a:xfrm>
            <a:off x="1820576" y="1829644"/>
            <a:ext cx="8092436" cy="222281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xmlns="" val="774081889"/>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Case Study #2: </a:t>
            </a:r>
            <a:r>
              <a:rPr lang="en-US" dirty="0"/>
              <a:t>Preoperative Treatment Errors: Surgical Pre-Op</a:t>
            </a:r>
          </a:p>
        </p:txBody>
      </p:sp>
      <p:sp>
        <p:nvSpPr>
          <p:cNvPr id="3" name="Slide Number Placeholder 2"/>
          <p:cNvSpPr>
            <a:spLocks noGrp="1"/>
          </p:cNvSpPr>
          <p:nvPr>
            <p:ph type="sldNum" sz="quarter" idx="12"/>
          </p:nvPr>
        </p:nvSpPr>
        <p:spPr/>
        <p:txBody>
          <a:bodyPr/>
          <a:lstStyle/>
          <a:p>
            <a:fld id="{DA135043-C596-1A48-8BDA-03EB29A64DF4}" type="slidenum">
              <a:rPr lang="en-US" smtClean="0"/>
              <a:pPr/>
              <a:t>28</a:t>
            </a:fld>
            <a:endParaRPr lang="en-US" dirty="0"/>
          </a:p>
        </p:txBody>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998255"/>
            <a:ext cx="4733925" cy="784830"/>
          </a:xfrm>
          <a:prstGeom prst="rect">
            <a:avLst/>
          </a:prstGeom>
        </p:spPr>
        <p:txBody>
          <a:bodyPr wrap="square">
            <a:spAutoFit/>
          </a:bodyPr>
          <a:lstStyle/>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Clear</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5" name="Rectangle 14"/>
          <p:cNvSpPr/>
          <p:nvPr/>
        </p:nvSpPr>
        <p:spPr>
          <a:xfrm>
            <a:off x="6462712" y="1568200"/>
            <a:ext cx="4733925" cy="1708160"/>
          </a:xfrm>
          <a:prstGeom prst="rect">
            <a:avLst/>
          </a:prstGeom>
        </p:spPr>
        <p:txBody>
          <a:bodyPr wrap="square">
            <a:spAutoFit/>
          </a:bodyPr>
          <a:lstStyle/>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No documented instances by insured or his staff to follow-up with the patient when he missed his subsequent appointments. </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pic>
        <p:nvPicPr>
          <p:cNvPr id="14" name="Picture 7"/>
          <p:cNvPicPr>
            <a:picLocks noGrp="1" noChangeAspect="1" noChangeArrowheads="1"/>
          </p:cNvPicPr>
          <p:nvPr>
            <p:ph idx="1"/>
          </p:nvPr>
        </p:nvPicPr>
        <p:blipFill>
          <a:blip r:embed="rId3">
            <a:extLst>
              <a:ext uri="{28A0092B-C50C-407E-A947-70E740481C1C}">
                <a14:useLocalDpi xmlns:a14="http://schemas.microsoft.com/office/drawing/2010/main" xmlns="" val="0"/>
              </a:ext>
            </a:extLst>
          </a:blip>
          <a:srcRect/>
          <a:stretch>
            <a:fillRect/>
          </a:stretch>
        </p:blipFill>
        <p:spPr bwMode="auto">
          <a:xfrm>
            <a:off x="401703" y="1600308"/>
            <a:ext cx="969932" cy="98298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6" name="Picture 7"/>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421257" y="1600308"/>
            <a:ext cx="969932" cy="98298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 name="Picture 7"/>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58591" y="1640523"/>
            <a:ext cx="969932" cy="98298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TextBox 3"/>
          <p:cNvSpPr txBox="1"/>
          <p:nvPr/>
        </p:nvSpPr>
        <p:spPr>
          <a:xfrm>
            <a:off x="1533946" y="1853430"/>
            <a:ext cx="2793538" cy="701731"/>
          </a:xfrm>
          <a:prstGeom prst="rect">
            <a:avLst/>
          </a:prstGeom>
          <a:noFill/>
        </p:spPr>
        <p:txBody>
          <a:bodyPr wrap="square" rtlCol="0">
            <a:spAutoFit/>
          </a:bodyPr>
          <a:lstStyle/>
          <a:p>
            <a:pPr algn="l">
              <a:lnSpc>
                <a:spcPct val="90000"/>
              </a:lnSpc>
            </a:pPr>
            <a:r>
              <a:rPr lang="en-US" sz="2200" b="1" dirty="0" smtClean="0">
                <a:solidFill>
                  <a:schemeClr val="tx2"/>
                </a:solidFill>
              </a:rPr>
              <a:t>Documentation Error</a:t>
            </a:r>
            <a:endParaRPr lang="en-US" sz="2200" b="1" dirty="0">
              <a:solidFill>
                <a:schemeClr val="tx2"/>
              </a:solidFill>
            </a:endParaRPr>
          </a:p>
        </p:txBody>
      </p:sp>
      <p:sp>
        <p:nvSpPr>
          <p:cNvPr id="18" name="TextBox 17"/>
          <p:cNvSpPr txBox="1"/>
          <p:nvPr/>
        </p:nvSpPr>
        <p:spPr>
          <a:xfrm>
            <a:off x="5529334" y="1813626"/>
            <a:ext cx="2793538" cy="701731"/>
          </a:xfrm>
          <a:prstGeom prst="rect">
            <a:avLst/>
          </a:prstGeom>
          <a:noFill/>
        </p:spPr>
        <p:txBody>
          <a:bodyPr wrap="square" rtlCol="0">
            <a:spAutoFit/>
          </a:bodyPr>
          <a:lstStyle/>
          <a:p>
            <a:pPr algn="l">
              <a:lnSpc>
                <a:spcPct val="90000"/>
              </a:lnSpc>
            </a:pPr>
            <a:r>
              <a:rPr lang="en-US" sz="2200" b="1" dirty="0" smtClean="0">
                <a:solidFill>
                  <a:schemeClr val="tx2"/>
                </a:solidFill>
              </a:rPr>
              <a:t>Poor Team Communication </a:t>
            </a:r>
            <a:endParaRPr lang="en-US" sz="2200" b="1" dirty="0">
              <a:solidFill>
                <a:schemeClr val="tx2"/>
              </a:solidFill>
            </a:endParaRPr>
          </a:p>
        </p:txBody>
      </p:sp>
      <p:sp>
        <p:nvSpPr>
          <p:cNvPr id="19" name="TextBox 18"/>
          <p:cNvSpPr txBox="1"/>
          <p:nvPr/>
        </p:nvSpPr>
        <p:spPr>
          <a:xfrm>
            <a:off x="9098391" y="1813625"/>
            <a:ext cx="2793538" cy="701731"/>
          </a:xfrm>
          <a:prstGeom prst="rect">
            <a:avLst/>
          </a:prstGeom>
          <a:noFill/>
        </p:spPr>
        <p:txBody>
          <a:bodyPr wrap="square" rtlCol="0">
            <a:spAutoFit/>
          </a:bodyPr>
          <a:lstStyle/>
          <a:p>
            <a:pPr algn="l">
              <a:lnSpc>
                <a:spcPct val="90000"/>
              </a:lnSpc>
            </a:pPr>
            <a:r>
              <a:rPr lang="en-US" sz="2200" b="1" dirty="0" smtClean="0">
                <a:solidFill>
                  <a:schemeClr val="tx2"/>
                </a:solidFill>
              </a:rPr>
              <a:t>Pre-Op System Failure</a:t>
            </a:r>
            <a:endParaRPr lang="en-US" sz="2200" b="1" dirty="0">
              <a:solidFill>
                <a:schemeClr val="tx2"/>
              </a:solidFill>
            </a:endParaRPr>
          </a:p>
        </p:txBody>
      </p:sp>
      <p:sp>
        <p:nvSpPr>
          <p:cNvPr id="8" name="Rectangle 7"/>
          <p:cNvSpPr/>
          <p:nvPr/>
        </p:nvSpPr>
        <p:spPr>
          <a:xfrm>
            <a:off x="836493" y="3087829"/>
            <a:ext cx="10360143" cy="707886"/>
          </a:xfrm>
          <a:prstGeom prst="rect">
            <a:avLst/>
          </a:prstGeom>
        </p:spPr>
        <p:txBody>
          <a:bodyPr wrap="square">
            <a:spAutoFit/>
          </a:bodyPr>
          <a:lstStyle/>
          <a:p>
            <a:r>
              <a:rPr lang="en-US" sz="2000" dirty="0">
                <a:solidFill>
                  <a:srgbClr val="002A88"/>
                </a:solidFill>
              </a:rPr>
              <a:t>Multiple studies show the quality of team communication directly impacts the clinical outcomes of patients</a:t>
            </a:r>
          </a:p>
        </p:txBody>
      </p:sp>
      <p:sp>
        <p:nvSpPr>
          <p:cNvPr id="20" name="Rectangle 19"/>
          <p:cNvSpPr/>
          <p:nvPr/>
        </p:nvSpPr>
        <p:spPr>
          <a:xfrm>
            <a:off x="844783" y="4159321"/>
            <a:ext cx="10360143" cy="400110"/>
          </a:xfrm>
          <a:prstGeom prst="rect">
            <a:avLst/>
          </a:prstGeom>
        </p:spPr>
        <p:txBody>
          <a:bodyPr wrap="square">
            <a:spAutoFit/>
          </a:bodyPr>
          <a:lstStyle/>
          <a:p>
            <a:r>
              <a:rPr lang="en-US" sz="2000" dirty="0" smtClean="0">
                <a:solidFill>
                  <a:srgbClr val="002A88"/>
                </a:solidFill>
              </a:rPr>
              <a:t>Make it easier for staff to speak up – implement a </a:t>
            </a:r>
            <a:r>
              <a:rPr lang="en-US" sz="2000" b="1" dirty="0" smtClean="0">
                <a:solidFill>
                  <a:srgbClr val="002A88"/>
                </a:solidFill>
              </a:rPr>
              <a:t>critical language policy </a:t>
            </a:r>
            <a:endParaRPr lang="en-US" sz="2000" b="1" dirty="0">
              <a:solidFill>
                <a:srgbClr val="002A88"/>
              </a:solidFill>
            </a:endParaRPr>
          </a:p>
        </p:txBody>
      </p:sp>
    </p:spTree>
    <p:extLst>
      <p:ext uri="{BB962C8B-B14F-4D97-AF65-F5344CB8AC3E}">
        <p14:creationId xmlns:p14="http://schemas.microsoft.com/office/powerpoint/2010/main" xmlns="" val="28326580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2F6B"/>
                </a:solidFill>
                <a:latin typeface="Arial" panose="020B0604020202020204" pitchFamily="34" charset="0"/>
              </a:rPr>
              <a:t>Case Study #2: </a:t>
            </a:r>
            <a:r>
              <a:rPr lang="en-US" dirty="0"/>
              <a:t>Preoperative Treatment Errors: Surgical Pre-Op</a:t>
            </a:r>
          </a:p>
        </p:txBody>
      </p:sp>
      <p:sp>
        <p:nvSpPr>
          <p:cNvPr id="3" name="Slide Number Placeholder 2"/>
          <p:cNvSpPr>
            <a:spLocks noGrp="1"/>
          </p:cNvSpPr>
          <p:nvPr>
            <p:ph type="sldNum" sz="quarter" idx="12"/>
          </p:nvPr>
        </p:nvSpPr>
        <p:spPr/>
        <p:txBody>
          <a:bodyPr/>
          <a:lstStyle/>
          <a:p>
            <a:fld id="{DA135043-C596-1A48-8BDA-03EB29A64DF4}" type="slidenum">
              <a:rPr lang="en-US" smtClean="0"/>
              <a:pPr/>
              <a:t>29</a:t>
            </a:fld>
            <a:endParaRPr lang="en-US" dirty="0"/>
          </a:p>
        </p:txBody>
      </p:sp>
      <p:grpSp>
        <p:nvGrpSpPr>
          <p:cNvPr id="5" name="Group 4"/>
          <p:cNvGrpSpPr/>
          <p:nvPr/>
        </p:nvGrpSpPr>
        <p:grpSpPr>
          <a:xfrm>
            <a:off x="328945" y="1013461"/>
            <a:ext cx="5038058" cy="468951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48230"/>
            <a:ext cx="5038058" cy="4689512"/>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879479" y="1560300"/>
            <a:ext cx="4157329" cy="738664"/>
          </a:xfrm>
          <a:prstGeom prst="rect">
            <a:avLst/>
          </a:prstGeom>
        </p:spPr>
        <p:txBody>
          <a:bodyPr wrap="square">
            <a:spAutoFit/>
          </a:bodyPr>
          <a:lstStyle/>
          <a:p>
            <a:pPr algn="just"/>
            <a:r>
              <a:rPr lang="en-US" sz="2400" b="1" dirty="0" smtClean="0">
                <a:solidFill>
                  <a:schemeClr val="bg1"/>
                </a:solidFill>
                <a:latin typeface="+mj-lt"/>
                <a:ea typeface="Calibri" panose="020F0502020204030204" pitchFamily="34" charset="0"/>
              </a:rPr>
              <a:t>Poor Team Communication</a:t>
            </a:r>
            <a:endParaRPr lang="en-US" sz="2400" b="1" dirty="0">
              <a:solidFill>
                <a:schemeClr val="bg1"/>
              </a:solidFill>
              <a:latin typeface="+mj-lt"/>
              <a:ea typeface="Calibri" panose="020F0502020204030204" pitchFamily="34" charset="0"/>
            </a:endParaRPr>
          </a:p>
          <a:p>
            <a:pPr algn="just"/>
            <a:endParaRPr lang="en-US" dirty="0" smtClean="0">
              <a:solidFill>
                <a:schemeClr val="bg1"/>
              </a:solidFill>
              <a:latin typeface="+mj-lt"/>
              <a:ea typeface="Calibri" panose="020F0502020204030204" pitchFamily="34" charset="0"/>
            </a:endParaRPr>
          </a:p>
        </p:txBody>
      </p:sp>
      <p:sp>
        <p:nvSpPr>
          <p:cNvPr id="12" name="Rectangle 11"/>
          <p:cNvSpPr/>
          <p:nvPr/>
        </p:nvSpPr>
        <p:spPr>
          <a:xfrm>
            <a:off x="6515100" y="1560300"/>
            <a:ext cx="4733925" cy="3123932"/>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rPr>
              <a:t>Pre-Op System Failure </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No pre-op site verification by OMS</a:t>
            </a:r>
          </a:p>
          <a:p>
            <a:pPr marL="285750" indent="-285750" algn="just" defTabSz="1066800">
              <a:spcBef>
                <a:spcPct val="0"/>
              </a:spcBef>
              <a:spcAft>
                <a:spcPts val="600"/>
              </a:spcAft>
              <a:buFont typeface="Arial" panose="020B0604020202020204" pitchFamily="34" charset="0"/>
              <a:buChar char="•"/>
            </a:pPr>
            <a:endPar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Time-Out Protocol </a:t>
            </a:r>
          </a:p>
          <a:p>
            <a:pPr algn="just" defTabSz="1066800">
              <a:spcBef>
                <a:spcPct val="0"/>
              </a:spcBef>
              <a:spcAft>
                <a:spcPts val="600"/>
              </a:spcAft>
            </a:pPr>
            <a:endPar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When in doubt . . . </a:t>
            </a:r>
            <a:r>
              <a:rPr lang="en-US" sz="2000" dirty="0">
                <a:solidFill>
                  <a:schemeClr val="bg1"/>
                </a:solidFill>
                <a:latin typeface="Arial" panose="020B0604020202020204" pitchFamily="34" charset="0"/>
                <a:ea typeface="Tahoma" panose="020B0604030504040204" pitchFamily="34" charset="0"/>
                <a:cs typeface="Arial" panose="020B0604020202020204" pitchFamily="34" charset="0"/>
              </a:rPr>
              <a:t>s</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tand still</a:t>
            </a:r>
          </a:p>
          <a:p>
            <a:pPr algn="just" defTabSz="1066800">
              <a:spcBef>
                <a:spcPct val="0"/>
              </a:spcBef>
              <a:spcAft>
                <a:spcPts val="600"/>
              </a:spcAft>
            </a:pPr>
            <a:endParaRPr lang="en-US"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14" name="Rectangle 13"/>
          <p:cNvSpPr/>
          <p:nvPr/>
        </p:nvSpPr>
        <p:spPr>
          <a:xfrm>
            <a:off x="769309" y="2387129"/>
            <a:ext cx="4157329" cy="2523768"/>
          </a:xfrm>
          <a:prstGeom prst="rect">
            <a:avLst/>
          </a:prstGeom>
        </p:spPr>
        <p:txBody>
          <a:bodyPr wrap="square">
            <a:spAutoFit/>
          </a:bodyPr>
          <a:lstStyle/>
          <a:p>
            <a:pPr marL="285750" indent="-285750" algn="just">
              <a:buFont typeface="Arial" panose="020B0604020202020204" pitchFamily="34" charset="0"/>
              <a:buChar char="•"/>
            </a:pPr>
            <a:r>
              <a:rPr lang="en-US" sz="2000" dirty="0" smtClean="0">
                <a:solidFill>
                  <a:schemeClr val="bg1"/>
                </a:solidFill>
                <a:latin typeface="+mj-lt"/>
                <a:ea typeface="Calibri" panose="020F0502020204030204" pitchFamily="34" charset="0"/>
              </a:rPr>
              <a:t>Good Team Communication </a:t>
            </a:r>
            <a:r>
              <a:rPr lang="en-US" sz="2000" i="1" dirty="0" smtClean="0">
                <a:solidFill>
                  <a:schemeClr val="bg1"/>
                </a:solidFill>
                <a:latin typeface="+mj-lt"/>
                <a:ea typeface="Calibri" panose="020F0502020204030204" pitchFamily="34" charset="0"/>
              </a:rPr>
              <a:t>directly</a:t>
            </a:r>
            <a:r>
              <a:rPr lang="en-US" sz="2000" dirty="0" smtClean="0">
                <a:solidFill>
                  <a:schemeClr val="bg1"/>
                </a:solidFill>
                <a:latin typeface="+mj-lt"/>
                <a:ea typeface="Calibri" panose="020F0502020204030204" pitchFamily="34" charset="0"/>
              </a:rPr>
              <a:t> impacts the clinical outcomes of patients. </a:t>
            </a:r>
            <a:endParaRPr lang="en-US" sz="2000" dirty="0">
              <a:solidFill>
                <a:schemeClr val="bg1"/>
              </a:solidFill>
              <a:latin typeface="+mj-lt"/>
              <a:ea typeface="Calibri" panose="020F0502020204030204" pitchFamily="34" charset="0"/>
            </a:endParaRPr>
          </a:p>
          <a:p>
            <a:pPr marL="285750" indent="-285750" algn="just">
              <a:buFont typeface="Arial" panose="020B0604020202020204" pitchFamily="34" charset="0"/>
              <a:buChar char="•"/>
            </a:pPr>
            <a:endParaRPr lang="en-US" sz="2000" dirty="0">
              <a:solidFill>
                <a:schemeClr val="bg1"/>
              </a:solidFill>
              <a:latin typeface="+mj-lt"/>
            </a:endParaRPr>
          </a:p>
          <a:p>
            <a:pPr marL="285750" indent="-285750" algn="just">
              <a:buFont typeface="Arial" panose="020B0604020202020204" pitchFamily="34" charset="0"/>
              <a:buChar char="•"/>
            </a:pPr>
            <a:r>
              <a:rPr lang="en-US" sz="2000" dirty="0" smtClean="0">
                <a:solidFill>
                  <a:schemeClr val="bg1"/>
                </a:solidFill>
                <a:latin typeface="+mj-lt"/>
              </a:rPr>
              <a:t>Make </a:t>
            </a:r>
            <a:r>
              <a:rPr lang="en-US" sz="2000" dirty="0">
                <a:solidFill>
                  <a:schemeClr val="bg1"/>
                </a:solidFill>
                <a:latin typeface="+mj-lt"/>
              </a:rPr>
              <a:t>it easier for staff to speak up – implement a </a:t>
            </a:r>
            <a:r>
              <a:rPr lang="en-US" sz="2000" b="1" dirty="0">
                <a:solidFill>
                  <a:schemeClr val="bg1"/>
                </a:solidFill>
                <a:latin typeface="+mj-lt"/>
              </a:rPr>
              <a:t>critical language policy </a:t>
            </a:r>
          </a:p>
          <a:p>
            <a:pPr algn="just"/>
            <a:endParaRPr lang="en-US" dirty="0">
              <a:solidFill>
                <a:schemeClr val="bg1"/>
              </a:solidFill>
              <a:latin typeface="+mj-lt"/>
            </a:endParaRPr>
          </a:p>
        </p:txBody>
      </p:sp>
    </p:spTree>
    <p:extLst>
      <p:ext uri="{BB962C8B-B14F-4D97-AF65-F5344CB8AC3E}">
        <p14:creationId xmlns:p14="http://schemas.microsoft.com/office/powerpoint/2010/main" xmlns="" val="31071603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2"/>
          <p:cNvSpPr>
            <a:spLocks noGrp="1"/>
          </p:cNvSpPr>
          <p:nvPr>
            <p:ph type="title"/>
          </p:nvPr>
        </p:nvSpPr>
        <p:spPr>
          <a:xfrm>
            <a:off x="414731" y="257328"/>
            <a:ext cx="11058132" cy="709743"/>
          </a:xfrm>
        </p:spPr>
        <p:txBody>
          <a:bodyPr/>
          <a:lstStyle/>
          <a:p>
            <a:r>
              <a:rPr lang="en-US" altLang="en-US" dirty="0"/>
              <a:t>Disclaimer</a:t>
            </a:r>
          </a:p>
        </p:txBody>
      </p:sp>
      <p:sp>
        <p:nvSpPr>
          <p:cNvPr id="4" name="Content Placeholder 3"/>
          <p:cNvSpPr>
            <a:spLocks noGrp="1"/>
          </p:cNvSpPr>
          <p:nvPr>
            <p:ph idx="4294967295"/>
          </p:nvPr>
        </p:nvSpPr>
        <p:spPr>
          <a:xfrm>
            <a:off x="414731" y="967071"/>
            <a:ext cx="10850563" cy="4625975"/>
          </a:xfrm>
        </p:spPr>
        <p:txBody>
          <a:bodyPr>
            <a:noAutofit/>
          </a:bodyPr>
          <a:lstStyle/>
          <a:p>
            <a:pPr algn="just"/>
            <a:r>
              <a:rPr lang="en-US" sz="1900" dirty="0" err="1"/>
              <a:t>MedPro</a:t>
            </a:r>
            <a:r>
              <a:rPr lang="en-US" sz="1900" dirty="0"/>
              <a:t> Group receives no commercial support from any ineligible company/</a:t>
            </a:r>
            <a:br>
              <a:rPr lang="en-US" sz="1900" dirty="0"/>
            </a:br>
            <a:r>
              <a:rPr lang="en-US" sz="1900" dirty="0"/>
              <a:t>commercial interest.</a:t>
            </a:r>
          </a:p>
          <a:p>
            <a:pPr algn="just"/>
            <a:r>
              <a:rPr lang="en-US" sz="1900" dirty="0"/>
              <a:t>It is the policy of </a:t>
            </a:r>
            <a:r>
              <a:rPr lang="en-US" sz="1900" dirty="0" err="1"/>
              <a:t>MedPro</a:t>
            </a:r>
            <a:r>
              <a:rPr lang="en-US" sz="1900" dirty="0"/>
              <a:t> Group to require that all parties in a position to influence the content of this activity disclose the existence of any relevant financial relationship with any ineligible company/commercial </a:t>
            </a:r>
            <a:r>
              <a:rPr lang="en-US" sz="1900" dirty="0" smtClean="0"/>
              <a:t>interest. When </a:t>
            </a:r>
            <a:r>
              <a:rPr lang="en-US" sz="1900" dirty="0"/>
              <a:t>there are relevant financial relationships mitigation steps are taken.  Additionally, the individual(s) will be listed by name, along with the name of the commercial interest with which the person has a relationship and the nature of the relationship.</a:t>
            </a:r>
          </a:p>
          <a:p>
            <a:pPr algn="just"/>
            <a:r>
              <a:rPr lang="en-US" sz="1900" dirty="0"/>
              <a:t>Today’s faculty, </a:t>
            </a:r>
            <a:r>
              <a:rPr lang="en-US" sz="1900" dirty="0" smtClean="0"/>
              <a:t>CE </a:t>
            </a:r>
            <a:r>
              <a:rPr lang="en-US" sz="1900" dirty="0"/>
              <a:t>planners, content developers, reviewers, editors, and Risk Solutions staff at </a:t>
            </a:r>
            <a:r>
              <a:rPr lang="en-US" sz="1900" dirty="0" err="1"/>
              <a:t>MedPro</a:t>
            </a:r>
            <a:r>
              <a:rPr lang="en-US" sz="1900" dirty="0"/>
              <a:t> Group, have reported that they have no relevant financial relationships with any commercial interests.</a:t>
            </a:r>
          </a:p>
          <a:p>
            <a:pPr algn="just"/>
            <a:r>
              <a:rPr lang="en-US" sz="1900" dirty="0"/>
              <a:t>The information contained herein and presented by the speaker is based on sources believed to be accurate at the time they were referenced. The speaker has made a reasonable effort to ensure the accuracy of the information presented; however, no warranty or representation is made as to such accuracy. The speaker is not engaged in rendering legal or other professional services. The information contained herein does not constitute legal or medical advice and should not be construed as rules or establishing a standard of care. Because the facts applicable to your situation may vary, or the laws applicable in your jurisdiction may differ, if legal advice or other expert legal assistance is required, the services of an attorney or other competent legal professional should be sought. </a:t>
            </a:r>
          </a:p>
        </p:txBody>
      </p:sp>
      <p:sp>
        <p:nvSpPr>
          <p:cNvPr id="2" name="Slide Number Placeholder 1"/>
          <p:cNvSpPr>
            <a:spLocks noGrp="1"/>
          </p:cNvSpPr>
          <p:nvPr>
            <p:ph type="sldNum" sz="quarter" idx="12"/>
          </p:nvPr>
        </p:nvSpPr>
        <p:spPr/>
        <p:txBody>
          <a:bodyPr/>
          <a:lstStyle/>
          <a:p>
            <a:fld id="{DA135043-C596-1A48-8BDA-03EB29A64DF4}" type="slidenum">
              <a:rPr lang="en-US" smtClean="0"/>
              <a:pPr/>
              <a:t>3</a:t>
            </a:fld>
            <a:endParaRPr lang="en-US" dirty="0"/>
          </a:p>
        </p:txBody>
      </p:sp>
    </p:spTree>
    <p:custDataLst>
      <p:tags r:id="rId1"/>
    </p:custDataLst>
    <p:extLst>
      <p:ext uri="{BB962C8B-B14F-4D97-AF65-F5344CB8AC3E}">
        <p14:creationId xmlns:p14="http://schemas.microsoft.com/office/powerpoint/2010/main" xmlns="" val="2767598073"/>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xmlns="" val="3998492779"/>
              </p:ext>
            </p:extLst>
          </p:nvPr>
        </p:nvGraphicFramePr>
        <p:xfrm>
          <a:off x="414731" y="415068"/>
          <a:ext cx="11337491" cy="60180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Check Mark in Circle_Cloud Blue"/>
          <p:cNvPicPr>
            <a:picLocks noChangeAspect="1"/>
          </p:cNvPicPr>
          <p:nvPr>
            <p:custDataLst>
              <p:tags r:id="rId2"/>
            </p:custDataLst>
          </p:nvPr>
        </p:nvPicPr>
        <p:blipFill rotWithShape="1">
          <a:blip r:embed="rId10"/>
          <a:srcRect l="53658" t="49361" r="4932" b="12946"/>
          <a:stretch/>
        </p:blipFill>
        <p:spPr>
          <a:xfrm>
            <a:off x="9998766" y="60545"/>
            <a:ext cx="1753456" cy="1596026"/>
          </a:xfrm>
          <a:prstGeom prst="rect">
            <a:avLst/>
          </a:prstGeom>
        </p:spPr>
      </p:pic>
      <p:sp>
        <p:nvSpPr>
          <p:cNvPr id="4" name="Slide Number Placeholder 3"/>
          <p:cNvSpPr>
            <a:spLocks noGrp="1"/>
          </p:cNvSpPr>
          <p:nvPr>
            <p:ph type="sldNum" sz="quarter" idx="12"/>
          </p:nvPr>
        </p:nvSpPr>
        <p:spPr/>
        <p:txBody>
          <a:bodyPr/>
          <a:lstStyle/>
          <a:p>
            <a:fld id="{DA135043-C596-1A48-8BDA-03EB29A64DF4}" type="slidenum">
              <a:rPr lang="en-US" smtClean="0"/>
              <a:pPr/>
              <a:t>30</a:t>
            </a:fld>
            <a:endParaRPr lang="en-US" dirty="0"/>
          </a:p>
        </p:txBody>
      </p:sp>
    </p:spTree>
    <p:custDataLst>
      <p:tags r:id="rId1"/>
    </p:custDataLst>
    <p:extLst>
      <p:ext uri="{BB962C8B-B14F-4D97-AF65-F5344CB8AC3E}">
        <p14:creationId xmlns:p14="http://schemas.microsoft.com/office/powerpoint/2010/main" xmlns="" val="4005415036"/>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aoperative Errors</a:t>
            </a:r>
            <a:endParaRPr lang="en-US" dirty="0"/>
          </a:p>
        </p:txBody>
      </p:sp>
      <p:sp>
        <p:nvSpPr>
          <p:cNvPr id="3" name="Title 3"/>
          <p:cNvSpPr txBox="1">
            <a:spLocks/>
          </p:cNvSpPr>
          <p:nvPr/>
        </p:nvSpPr>
        <p:spPr>
          <a:xfrm>
            <a:off x="929324" y="3767868"/>
            <a:ext cx="10333351" cy="537385"/>
          </a:xfrm>
          <a:prstGeom prst="rect">
            <a:avLst/>
          </a:prstGeom>
        </p:spPr>
        <p:txBody>
          <a:bodyPr vert="horz" lIns="91440" tIns="45720" rIns="91440" bIns="45720" rtlCol="0" anchor="t">
            <a:noAutofit/>
          </a:bodyPr>
          <a:lstStyle>
            <a:lvl1pPr algn="ctr" defTabSz="1306218" rtl="0" eaLnBrk="1" latinLnBrk="0" hangingPunct="1">
              <a:lnSpc>
                <a:spcPct val="90000"/>
              </a:lnSpc>
              <a:spcBef>
                <a:spcPct val="0"/>
              </a:spcBef>
              <a:buNone/>
              <a:defRPr sz="3200" b="1" kern="1200">
                <a:solidFill>
                  <a:schemeClr val="tx2"/>
                </a:solidFill>
                <a:latin typeface="+mj-lt"/>
                <a:ea typeface="+mj-ea"/>
                <a:cs typeface="+mj-cs"/>
              </a:defRPr>
            </a:lvl1pPr>
          </a:lstStyle>
          <a:p>
            <a:r>
              <a:rPr lang="en-US" dirty="0" smtClean="0">
                <a:solidFill>
                  <a:srgbClr val="005EC0"/>
                </a:solidFill>
              </a:rPr>
              <a:t>Anesthesia</a:t>
            </a:r>
            <a:endParaRPr lang="en-US" dirty="0">
              <a:solidFill>
                <a:srgbClr val="005EC0"/>
              </a:solidFill>
            </a:endParaRPr>
          </a:p>
        </p:txBody>
      </p:sp>
    </p:spTree>
    <p:custDataLst>
      <p:tags r:id="rId1"/>
    </p:custDataLst>
    <p:extLst>
      <p:ext uri="{BB962C8B-B14F-4D97-AF65-F5344CB8AC3E}">
        <p14:creationId xmlns:p14="http://schemas.microsoft.com/office/powerpoint/2010/main" xmlns="" val="1533205254"/>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aoperative Error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32</a:t>
            </a:fld>
            <a:endParaRPr lang="en-US" dirty="0"/>
          </a:p>
        </p:txBody>
      </p:sp>
      <p:sp>
        <p:nvSpPr>
          <p:cNvPr id="10" name="TextBox 9"/>
          <p:cNvSpPr txBox="1"/>
          <p:nvPr/>
        </p:nvSpPr>
        <p:spPr>
          <a:xfrm>
            <a:off x="414731" y="1607673"/>
            <a:ext cx="8780443" cy="1172629"/>
          </a:xfrm>
          <a:prstGeom prst="rect">
            <a:avLst/>
          </a:prstGeom>
          <a:noFill/>
        </p:spPr>
        <p:txBody>
          <a:bodyPr wrap="square" rtlCol="0">
            <a:spAutoFit/>
          </a:bodyPr>
          <a:lstStyle/>
          <a:p>
            <a:pPr marL="457200" indent="-457200" algn="l">
              <a:lnSpc>
                <a:spcPct val="90000"/>
              </a:lnSpc>
              <a:buFont typeface="Arial" panose="020B0604020202020204" pitchFamily="34" charset="0"/>
              <a:buChar char="•"/>
            </a:pPr>
            <a:r>
              <a:rPr lang="en-US" sz="2600" dirty="0" smtClean="0">
                <a:solidFill>
                  <a:schemeClr val="tx2"/>
                </a:solidFill>
              </a:rPr>
              <a:t>Poor patient selection</a:t>
            </a:r>
          </a:p>
          <a:p>
            <a:pPr marL="457200" indent="-457200" algn="l">
              <a:lnSpc>
                <a:spcPct val="90000"/>
              </a:lnSpc>
              <a:buFont typeface="Arial" panose="020B0604020202020204" pitchFamily="34" charset="0"/>
              <a:buChar char="•"/>
            </a:pPr>
            <a:r>
              <a:rPr lang="en-US" sz="2600" dirty="0" smtClean="0">
                <a:solidFill>
                  <a:schemeClr val="tx2"/>
                </a:solidFill>
              </a:rPr>
              <a:t>Poor management of the patient intraoperatively</a:t>
            </a:r>
          </a:p>
          <a:p>
            <a:pPr marL="457200" indent="-457200" algn="l">
              <a:lnSpc>
                <a:spcPct val="90000"/>
              </a:lnSpc>
              <a:buFont typeface="Arial" panose="020B0604020202020204" pitchFamily="34" charset="0"/>
              <a:buChar char="•"/>
            </a:pPr>
            <a:r>
              <a:rPr lang="en-US" sz="2600" dirty="0" smtClean="0">
                <a:solidFill>
                  <a:schemeClr val="tx2"/>
                </a:solidFill>
              </a:rPr>
              <a:t>Communication Errors</a:t>
            </a:r>
            <a:endParaRPr lang="en-US" sz="2600" dirty="0">
              <a:solidFill>
                <a:schemeClr val="tx2"/>
              </a:solidFill>
            </a:endParaRPr>
          </a:p>
        </p:txBody>
      </p:sp>
      <p:sp>
        <p:nvSpPr>
          <p:cNvPr id="5" name="Rectangle 4"/>
          <p:cNvSpPr/>
          <p:nvPr/>
        </p:nvSpPr>
        <p:spPr>
          <a:xfrm>
            <a:off x="-301449" y="3731178"/>
            <a:ext cx="12266077" cy="2092881"/>
          </a:xfrm>
          <a:prstGeom prst="rect">
            <a:avLst/>
          </a:prstGeom>
        </p:spPr>
        <p:txBody>
          <a:bodyPr wrap="square">
            <a:spAutoFit/>
          </a:bodyPr>
          <a:lstStyle/>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properly does</a:t>
            </a:r>
            <a:r>
              <a:rPr lang="en-US" altLang="en-US" sz="2600" dirty="0" smtClean="0">
                <a:solidFill>
                  <a:schemeClr val="tx2"/>
                </a:solidFill>
                <a:latin typeface="+mj-lt"/>
                <a:ea typeface="Trebuchet MS" panose="020B0703020202090204" pitchFamily="34" charset="0"/>
                <a:cs typeface="Trebuchet MS" panose="020B0703020202090204" pitchFamily="34" charset="0"/>
              </a:rPr>
              <a:t> anesthetics; </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monitor</a:t>
            </a:r>
            <a:r>
              <a:rPr lang="en-US" altLang="en-US" sz="2600" dirty="0" smtClean="0">
                <a:solidFill>
                  <a:schemeClr val="tx2"/>
                </a:solidFill>
                <a:latin typeface="+mj-lt"/>
                <a:ea typeface="Trebuchet MS" panose="020B0703020202090204" pitchFamily="34" charset="0"/>
                <a:cs typeface="Trebuchet MS" panose="020B0703020202090204" pitchFamily="34" charset="0"/>
              </a:rPr>
              <a:t> during anesthesia;</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recognize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signs + symptoms of distress</a:t>
            </a:r>
            <a:r>
              <a:rPr lang="en-US" altLang="en-US" sz="2600" dirty="0" smtClean="0">
                <a:solidFill>
                  <a:schemeClr val="tx2"/>
                </a:solidFill>
                <a:latin typeface="+mj-lt"/>
                <a:ea typeface="Trebuchet MS" panose="020B0703020202090204" pitchFamily="34" charset="0"/>
                <a:cs typeface="Trebuchet MS" panose="020B0703020202090204" pitchFamily="34" charset="0"/>
              </a:rPr>
              <a:t>;</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timely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intervene</a:t>
            </a:r>
            <a:r>
              <a:rPr lang="en-US" altLang="en-US" sz="2600" dirty="0" smtClean="0">
                <a:solidFill>
                  <a:schemeClr val="tx2"/>
                </a:solidFill>
                <a:latin typeface="+mj-lt"/>
                <a:ea typeface="Trebuchet MS" panose="020B0703020202090204" pitchFamily="34" charset="0"/>
                <a:cs typeface="Trebuchet MS" panose="020B0703020202090204" pitchFamily="34" charset="0"/>
              </a:rPr>
              <a:t>; and</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timely complete an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anesthesia record</a:t>
            </a:r>
            <a:endParaRPr lang="en-US" altLang="en-US" sz="2600" dirty="0">
              <a:solidFill>
                <a:schemeClr val="tx2"/>
              </a:solidFill>
              <a:latin typeface="+mj-lt"/>
              <a:ea typeface="Trebuchet MS" panose="020B0703020202090204" pitchFamily="34" charset="0"/>
              <a:cs typeface="Trebuchet MS" panose="020B0703020202090204" pitchFamily="34" charset="0"/>
            </a:endParaRPr>
          </a:p>
        </p:txBody>
      </p:sp>
      <p:sp>
        <p:nvSpPr>
          <p:cNvPr id="11" name="Rounded Rectangle 10"/>
          <p:cNvSpPr/>
          <p:nvPr/>
        </p:nvSpPr>
        <p:spPr>
          <a:xfrm>
            <a:off x="353613" y="776026"/>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Occurs due to: </a:t>
            </a:r>
            <a:endParaRPr lang="en-US" sz="2400" dirty="0">
              <a:solidFill>
                <a:schemeClr val="bg1"/>
              </a:solidFill>
            </a:endParaRPr>
          </a:p>
        </p:txBody>
      </p:sp>
      <p:sp>
        <p:nvSpPr>
          <p:cNvPr id="12" name="Rounded Rectangle 11"/>
          <p:cNvSpPr/>
          <p:nvPr/>
        </p:nvSpPr>
        <p:spPr>
          <a:xfrm>
            <a:off x="353613" y="3023283"/>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Examples:</a:t>
            </a:r>
            <a:endParaRPr lang="en-US" sz="2400" dirty="0">
              <a:solidFill>
                <a:schemeClr val="bg1"/>
              </a:solidFill>
            </a:endParaRPr>
          </a:p>
        </p:txBody>
      </p:sp>
    </p:spTree>
    <p:extLst>
      <p:ext uri="{BB962C8B-B14F-4D97-AF65-F5344CB8AC3E}">
        <p14:creationId xmlns:p14="http://schemas.microsoft.com/office/powerpoint/2010/main" xmlns="" val="40756025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3: Intraoperative Treatment Errors: Anesthesia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33</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893739748"/>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34329698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3: Intraoperative Treatment Errors: Anesthesia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34</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234012685"/>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p:cNvGrpSpPr/>
          <p:nvPr/>
        </p:nvGrpSpPr>
        <p:grpSpPr>
          <a:xfrm>
            <a:off x="4280302" y="5254108"/>
            <a:ext cx="2887577" cy="546617"/>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Tree>
    <p:extLst>
      <p:ext uri="{BB962C8B-B14F-4D97-AF65-F5344CB8AC3E}">
        <p14:creationId xmlns:p14="http://schemas.microsoft.com/office/powerpoint/2010/main" xmlns="" val="308626062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 Intraoperative Treatment Errors: Anesthesia </a:t>
            </a:r>
          </a:p>
        </p:txBody>
      </p:sp>
      <p:sp>
        <p:nvSpPr>
          <p:cNvPr id="3" name="Slide Number Placeholder 2"/>
          <p:cNvSpPr>
            <a:spLocks noGrp="1"/>
          </p:cNvSpPr>
          <p:nvPr>
            <p:ph type="sldNum" sz="quarter" idx="12"/>
          </p:nvPr>
        </p:nvSpPr>
        <p:spPr/>
        <p:txBody>
          <a:bodyPr/>
          <a:lstStyle/>
          <a:p>
            <a:fld id="{DA135043-C596-1A48-8BDA-03EB29A64DF4}" type="slidenum">
              <a:rPr lang="en-US" smtClean="0"/>
              <a:pPr/>
              <a:t>35</a:t>
            </a:fld>
            <a:endParaRPr lang="en-US" dirty="0"/>
          </a:p>
        </p:txBody>
      </p:sp>
      <p:grpSp>
        <p:nvGrpSpPr>
          <p:cNvPr id="5" name="Group 4"/>
          <p:cNvGrpSpPr/>
          <p:nvPr/>
        </p:nvGrpSpPr>
        <p:grpSpPr>
          <a:xfrm>
            <a:off x="328945" y="1013461"/>
            <a:ext cx="5038058" cy="468951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851049"/>
            <a:ext cx="5038058" cy="2872652"/>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2" name="Rectangle 11"/>
          <p:cNvSpPr/>
          <p:nvPr/>
        </p:nvSpPr>
        <p:spPr>
          <a:xfrm>
            <a:off x="6528993" y="1079113"/>
            <a:ext cx="4733925" cy="2585323"/>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ET Tube Not Cuffed</a:t>
            </a:r>
          </a:p>
          <a:p>
            <a:pPr lvl="0" algn="just" defTabSz="1066800">
              <a:spcBef>
                <a:spcPct val="0"/>
              </a:spcBef>
              <a:spcAft>
                <a:spcPts val="600"/>
              </a:spcAft>
            </a:pPr>
            <a:r>
              <a:rPr lang="en-US" sz="2000" dirty="0" err="1" smtClean="0">
                <a:solidFill>
                  <a:schemeClr val="bg1"/>
                </a:solidFill>
                <a:latin typeface="Arial" panose="020B0604020202020204" pitchFamily="34" charset="0"/>
                <a:ea typeface="Tahoma" panose="020B0604030504040204" pitchFamily="34" charset="0"/>
                <a:cs typeface="Arial" panose="020B0604020202020204" pitchFamily="34" charset="0"/>
              </a:rPr>
              <a:t>Uncuffed</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tubes prone to migration especially in long procedures.</a:t>
            </a:r>
          </a:p>
          <a:p>
            <a:pPr lvl="0"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lvl="0" algn="just" defTabSz="1066800">
              <a:spcBef>
                <a:spcPct val="0"/>
              </a:spcBef>
              <a:spcAft>
                <a:spcPts val="600"/>
              </a:spcAft>
            </a:pPr>
            <a:r>
              <a:rPr lang="en-US" sz="2000" b="1" u="sng" dirty="0" smtClean="0">
                <a:solidFill>
                  <a:schemeClr val="bg1"/>
                </a:solidFill>
                <a:latin typeface="Arial" panose="020B0604020202020204" pitchFamily="34" charset="0"/>
                <a:ea typeface="Tahoma" panose="020B0604030504040204" pitchFamily="34" charset="0"/>
                <a:cs typeface="Arial" panose="020B0604020202020204" pitchFamily="34" charset="0"/>
              </a:rPr>
              <a:t>Tip</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Deflate balloon cuff to prevent necrosis</a:t>
            </a:r>
            <a:endParaRPr lang="en-US" sz="2000" dirty="0">
              <a:solidFill>
                <a:schemeClr val="bg1"/>
              </a:solidFill>
            </a:endParaRPr>
          </a:p>
          <a:p>
            <a:pPr algn="just" defTabSz="1066800">
              <a:spcBef>
                <a:spcPct val="0"/>
              </a:spcBef>
              <a:spcAft>
                <a:spcPts val="600"/>
              </a:spcAft>
            </a:pPr>
            <a:endParaRPr lang="en-US"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14" name="Rectangle 13"/>
          <p:cNvSpPr/>
          <p:nvPr/>
        </p:nvSpPr>
        <p:spPr>
          <a:xfrm>
            <a:off x="769309" y="1520253"/>
            <a:ext cx="4463439" cy="461665"/>
          </a:xfrm>
          <a:prstGeom prst="rect">
            <a:avLst/>
          </a:prstGeom>
        </p:spPr>
        <p:txBody>
          <a:bodyPr wrap="square">
            <a:spAutoFit/>
          </a:bodyPr>
          <a:lstStyle/>
          <a:p>
            <a:pPr algn="just"/>
            <a:r>
              <a:rPr lang="en-US" sz="2400" b="1" dirty="0" smtClean="0">
                <a:solidFill>
                  <a:schemeClr val="bg1"/>
                </a:solidFill>
                <a:ea typeface="Calibri" panose="020F0502020204030204" pitchFamily="34" charset="0"/>
              </a:rPr>
              <a:t>Anesthesia Record-Keeping</a:t>
            </a:r>
            <a:endParaRPr lang="en-US" sz="2400" b="1" dirty="0">
              <a:solidFill>
                <a:schemeClr val="bg1"/>
              </a:solidFill>
              <a:ea typeface="Calibri" panose="020F0502020204030204" pitchFamily="34" charset="0"/>
            </a:endParaRPr>
          </a:p>
        </p:txBody>
      </p:sp>
      <p:sp>
        <p:nvSpPr>
          <p:cNvPr id="15" name="Rounded Rectangle 14"/>
          <p:cNvSpPr/>
          <p:nvPr/>
        </p:nvSpPr>
        <p:spPr>
          <a:xfrm>
            <a:off x="6310646" y="3951765"/>
            <a:ext cx="5038058" cy="2085478"/>
          </a:xfrm>
          <a:prstGeom prst="roundRect">
            <a:avLst/>
          </a:prstGeom>
          <a:solidFill>
            <a:schemeClr val="accent3"/>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4" name="TextBox 3"/>
          <p:cNvSpPr txBox="1"/>
          <p:nvPr/>
        </p:nvSpPr>
        <p:spPr>
          <a:xfrm>
            <a:off x="6632154" y="4439798"/>
            <a:ext cx="4329629" cy="618631"/>
          </a:xfrm>
          <a:prstGeom prst="rect">
            <a:avLst/>
          </a:prstGeom>
          <a:noFill/>
        </p:spPr>
        <p:txBody>
          <a:bodyPr wrap="square" rtlCol="0">
            <a:spAutoFit/>
          </a:bodyPr>
          <a:lstStyle/>
          <a:p>
            <a:pPr algn="just">
              <a:lnSpc>
                <a:spcPct val="90000"/>
              </a:lnSpc>
            </a:pPr>
            <a:r>
              <a:rPr lang="en-US" sz="2000" b="1" dirty="0" smtClean="0">
                <a:solidFill>
                  <a:schemeClr val="bg1"/>
                </a:solidFill>
              </a:rPr>
              <a:t>Changes to Anesthesia Chart</a:t>
            </a:r>
            <a:endParaRPr lang="en-US" sz="2000" b="1" dirty="0">
              <a:solidFill>
                <a:schemeClr val="bg1"/>
              </a:solidFill>
            </a:endParaRPr>
          </a:p>
          <a:p>
            <a:pPr algn="l">
              <a:lnSpc>
                <a:spcPct val="90000"/>
              </a:lnSpc>
            </a:pPr>
            <a:endParaRPr lang="en-US" sz="1800" dirty="0" err="1">
              <a:solidFill>
                <a:schemeClr val="tx2"/>
              </a:solidFill>
            </a:endParaRPr>
          </a:p>
        </p:txBody>
      </p:sp>
      <p:sp>
        <p:nvSpPr>
          <p:cNvPr id="8" name="Rectangle 7"/>
          <p:cNvSpPr/>
          <p:nvPr/>
        </p:nvSpPr>
        <p:spPr>
          <a:xfrm>
            <a:off x="536154" y="2165451"/>
            <a:ext cx="4594646" cy="3416320"/>
          </a:xfrm>
          <a:prstGeom prst="rect">
            <a:avLst/>
          </a:prstGeom>
        </p:spPr>
        <p:txBody>
          <a:bodyPr wrap="square">
            <a:spAutoFit/>
          </a:bodyPr>
          <a:lstStyle/>
          <a:p>
            <a:pPr marL="285750" indent="-285750">
              <a:buFont typeface="Arial" panose="020B0604020202020204" pitchFamily="34" charset="0"/>
              <a:buChar char="•"/>
            </a:pPr>
            <a:r>
              <a:rPr lang="en-US" i="1" dirty="0" smtClean="0">
                <a:solidFill>
                  <a:schemeClr val="bg1"/>
                </a:solidFill>
              </a:rPr>
              <a:t>Need </a:t>
            </a:r>
            <a:r>
              <a:rPr lang="en-US" dirty="0" smtClean="0">
                <a:solidFill>
                  <a:schemeClr val="bg1"/>
                </a:solidFill>
              </a:rPr>
              <a:t> to have all vitals charted; </a:t>
            </a:r>
          </a:p>
          <a:p>
            <a:endParaRPr lang="en-US" dirty="0" smtClean="0">
              <a:solidFill>
                <a:schemeClr val="bg1"/>
              </a:solidFill>
            </a:endParaRPr>
          </a:p>
          <a:p>
            <a:pPr marL="285750" indent="-285750">
              <a:buFont typeface="Arial" panose="020B0604020202020204" pitchFamily="34" charset="0"/>
              <a:buChar char="•"/>
            </a:pPr>
            <a:r>
              <a:rPr lang="en-US" dirty="0" smtClean="0">
                <a:solidFill>
                  <a:schemeClr val="bg1"/>
                </a:solidFill>
              </a:rPr>
              <a:t>If there is a change in BP, O2 </a:t>
            </a:r>
            <a:r>
              <a:rPr lang="en-US" dirty="0" err="1" smtClean="0">
                <a:solidFill>
                  <a:schemeClr val="bg1"/>
                </a:solidFill>
              </a:rPr>
              <a:t>sats</a:t>
            </a:r>
            <a:r>
              <a:rPr lang="en-US" dirty="0" smtClean="0">
                <a:solidFill>
                  <a:schemeClr val="bg1"/>
                </a:solidFill>
              </a:rPr>
              <a:t>, RR, or HR, records need to indicate: </a:t>
            </a:r>
          </a:p>
          <a:p>
            <a:pPr marL="742950" lvl="1" indent="-285750">
              <a:buFont typeface="Arial" panose="020B0604020202020204" pitchFamily="34" charset="0"/>
              <a:buChar char="•"/>
            </a:pPr>
            <a:r>
              <a:rPr lang="en-US" dirty="0" smtClean="0">
                <a:solidFill>
                  <a:schemeClr val="bg1"/>
                </a:solidFill>
              </a:rPr>
              <a:t>Intervention type</a:t>
            </a:r>
          </a:p>
          <a:p>
            <a:pPr marL="742950" lvl="1" indent="-285750">
              <a:buFont typeface="Arial" panose="020B0604020202020204" pitchFamily="34" charset="0"/>
              <a:buChar char="•"/>
            </a:pPr>
            <a:r>
              <a:rPr lang="en-US" dirty="0" smtClean="0">
                <a:solidFill>
                  <a:schemeClr val="bg1"/>
                </a:solidFill>
              </a:rPr>
              <a:t>How long it took to take intervention</a:t>
            </a:r>
          </a:p>
          <a:p>
            <a:pPr marL="742950" lvl="1" indent="-285750">
              <a:buFont typeface="Arial" panose="020B0604020202020204" pitchFamily="34" charset="0"/>
              <a:buChar char="•"/>
            </a:pPr>
            <a:r>
              <a:rPr lang="en-US" dirty="0" smtClean="0">
                <a:solidFill>
                  <a:schemeClr val="bg1"/>
                </a:solidFill>
              </a:rPr>
              <a:t>Result of intervention attempts</a:t>
            </a:r>
          </a:p>
          <a:p>
            <a:pPr lvl="1"/>
            <a:endParaRPr lang="en-US" dirty="0" smtClean="0">
              <a:solidFill>
                <a:schemeClr val="bg1"/>
              </a:solidFill>
            </a:endParaRPr>
          </a:p>
          <a:p>
            <a:pPr marL="285750" indent="-285750">
              <a:buFont typeface="Arial" panose="020B0604020202020204" pitchFamily="34" charset="0"/>
              <a:buChar char="•"/>
            </a:pPr>
            <a:r>
              <a:rPr lang="en-US" dirty="0" smtClean="0">
                <a:solidFill>
                  <a:schemeClr val="bg1"/>
                </a:solidFill>
              </a:rPr>
              <a:t>Clinical Notes &amp; Electronic Tracings </a:t>
            </a:r>
            <a:r>
              <a:rPr lang="en-US" i="1" dirty="0" smtClean="0">
                <a:solidFill>
                  <a:schemeClr val="bg1"/>
                </a:solidFill>
              </a:rPr>
              <a:t>must</a:t>
            </a:r>
            <a:r>
              <a:rPr lang="en-US" dirty="0" smtClean="0">
                <a:solidFill>
                  <a:schemeClr val="bg1"/>
                </a:solidFill>
              </a:rPr>
              <a:t> match</a:t>
            </a:r>
          </a:p>
          <a:p>
            <a:endParaRPr lang="en-US" dirty="0" smtClean="0">
              <a:solidFill>
                <a:schemeClr val="bg1"/>
              </a:solidFill>
            </a:endParaRPr>
          </a:p>
          <a:p>
            <a:pPr marL="285750" indent="-285750">
              <a:buFont typeface="Arial" panose="020B0604020202020204" pitchFamily="34" charset="0"/>
              <a:buChar char="•"/>
            </a:pPr>
            <a:r>
              <a:rPr lang="en-US" dirty="0" smtClean="0">
                <a:solidFill>
                  <a:schemeClr val="bg1"/>
                </a:solidFill>
              </a:rPr>
              <a:t>"Blood in ET Tube" . . . Need f/u</a:t>
            </a:r>
            <a:endParaRPr lang="en-US" dirty="0">
              <a:solidFill>
                <a:schemeClr val="bg1"/>
              </a:solidFill>
            </a:endParaRPr>
          </a:p>
        </p:txBody>
      </p:sp>
      <p:sp>
        <p:nvSpPr>
          <p:cNvPr id="13" name="Rectangle 12"/>
          <p:cNvSpPr/>
          <p:nvPr/>
        </p:nvSpPr>
        <p:spPr>
          <a:xfrm>
            <a:off x="6598632" y="4818490"/>
            <a:ext cx="4594646" cy="369332"/>
          </a:xfrm>
          <a:prstGeom prst="rect">
            <a:avLst/>
          </a:prstGeom>
        </p:spPr>
        <p:txBody>
          <a:bodyPr wrap="square">
            <a:spAutoFit/>
          </a:bodyPr>
          <a:lstStyle/>
          <a:p>
            <a:r>
              <a:rPr lang="en-US" dirty="0" smtClean="0">
                <a:solidFill>
                  <a:schemeClr val="bg1"/>
                </a:solidFill>
              </a:rPr>
              <a:t>Document when changes made and </a:t>
            </a:r>
            <a:r>
              <a:rPr lang="en-US" i="1" dirty="0" smtClean="0">
                <a:solidFill>
                  <a:schemeClr val="bg1"/>
                </a:solidFill>
              </a:rPr>
              <a:t>why</a:t>
            </a:r>
            <a:endParaRPr lang="en-US" dirty="0">
              <a:solidFill>
                <a:schemeClr val="bg1"/>
              </a:solidFill>
            </a:endParaRPr>
          </a:p>
        </p:txBody>
      </p:sp>
    </p:spTree>
    <p:extLst>
      <p:ext uri="{BB962C8B-B14F-4D97-AF65-F5344CB8AC3E}">
        <p14:creationId xmlns:p14="http://schemas.microsoft.com/office/powerpoint/2010/main" xmlns="" val="271810156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 Intraoperative Treatment Errors: Anesthesia </a:t>
            </a:r>
          </a:p>
        </p:txBody>
      </p:sp>
      <p:sp>
        <p:nvSpPr>
          <p:cNvPr id="3" name="Slide Number Placeholder 2"/>
          <p:cNvSpPr>
            <a:spLocks noGrp="1"/>
          </p:cNvSpPr>
          <p:nvPr>
            <p:ph type="sldNum" sz="quarter" idx="12"/>
          </p:nvPr>
        </p:nvSpPr>
        <p:spPr/>
        <p:txBody>
          <a:bodyPr/>
          <a:lstStyle/>
          <a:p>
            <a:fld id="{DA135043-C596-1A48-8BDA-03EB29A64DF4}" type="slidenum">
              <a:rPr lang="en-US" smtClean="0"/>
              <a:pPr/>
              <a:t>36</a:t>
            </a:fld>
            <a:endParaRPr lang="en-US" dirty="0"/>
          </a:p>
        </p:txBody>
      </p:sp>
      <p:grpSp>
        <p:nvGrpSpPr>
          <p:cNvPr id="5" name="Group 4"/>
          <p:cNvGrpSpPr/>
          <p:nvPr/>
        </p:nvGrpSpPr>
        <p:grpSpPr>
          <a:xfrm>
            <a:off x="328945" y="1013461"/>
            <a:ext cx="5038058" cy="468951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851049"/>
            <a:ext cx="5038058" cy="2872652"/>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2" name="Rectangle 11"/>
          <p:cNvSpPr/>
          <p:nvPr/>
        </p:nvSpPr>
        <p:spPr>
          <a:xfrm>
            <a:off x="6528993" y="1079113"/>
            <a:ext cx="4733925" cy="2431435"/>
          </a:xfrm>
          <a:prstGeom prst="rect">
            <a:avLst/>
          </a:prstGeom>
        </p:spPr>
        <p:txBody>
          <a:bodyPr wrap="square">
            <a:spAutoFit/>
          </a:bodyPr>
          <a:lstStyle/>
          <a:p>
            <a:pPr algn="just" defTabSz="1066800">
              <a:spcBef>
                <a:spcPct val="0"/>
              </a:spcBef>
              <a:spcAft>
                <a:spcPts val="600"/>
              </a:spcAft>
            </a:pPr>
            <a:r>
              <a:rPr lang="en-US" sz="2400" b="1" dirty="0" err="1" smtClean="0">
                <a:solidFill>
                  <a:schemeClr val="bg1"/>
                </a:solidFill>
                <a:latin typeface="Arial" panose="020B0604020202020204" pitchFamily="34" charset="0"/>
                <a:ea typeface="Tahoma" panose="020B0604030504040204" pitchFamily="34" charset="0"/>
                <a:cs typeface="Arial" panose="020B0604020202020204" pitchFamily="34" charset="0"/>
              </a:rPr>
              <a:t>Preop</a:t>
            </a: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 Clearance</a:t>
            </a:r>
          </a:p>
          <a:p>
            <a:pPr marL="285750" indent="-285750" algn="just" defTabSz="1066800">
              <a:spcBef>
                <a:spcPct val="0"/>
              </a:spcBef>
              <a:spcAft>
                <a:spcPts val="600"/>
              </a:spcAft>
              <a:buFont typeface="Arial" panose="020B0604020202020204" pitchFamily="34" charset="0"/>
              <a:buChar char="•"/>
            </a:pPr>
            <a:r>
              <a:rPr lang="en-US" dirty="0" smtClean="0">
                <a:solidFill>
                  <a:schemeClr val="bg1"/>
                </a:solidFill>
                <a:latin typeface="+mj-lt"/>
                <a:ea typeface="Tahoma" panose="020B0604030504040204" pitchFamily="34" charset="0"/>
                <a:cs typeface="Arial" panose="020B0604020202020204" pitchFamily="34" charset="0"/>
              </a:rPr>
              <a:t>Consider "red flag" patients, or patients with comorbidities. </a:t>
            </a:r>
          </a:p>
          <a:p>
            <a:pPr algn="just" defTabSz="1066800">
              <a:spcBef>
                <a:spcPct val="0"/>
              </a:spcBef>
              <a:spcAft>
                <a:spcPts val="600"/>
              </a:spcAft>
            </a:pPr>
            <a:endParaRPr lang="en-US" dirty="0">
              <a:solidFill>
                <a:schemeClr val="bg1"/>
              </a:solidFill>
              <a:latin typeface="+mj-lt"/>
              <a:ea typeface="Tahoma" panose="020B0604030504040204" pitchFamily="34" charset="0"/>
              <a:cs typeface="Arial" panose="020B0604020202020204" pitchFamily="34" charset="0"/>
            </a:endParaRPr>
          </a:p>
          <a:p>
            <a:pPr marL="285750" indent="-285750" algn="just" defTabSz="1066800">
              <a:spcBef>
                <a:spcPct val="0"/>
              </a:spcBef>
              <a:spcAft>
                <a:spcPts val="600"/>
              </a:spcAft>
              <a:buFont typeface="Arial" panose="020B0604020202020204" pitchFamily="34" charset="0"/>
              <a:buChar char="•"/>
            </a:pPr>
            <a:r>
              <a:rPr lang="en-US" dirty="0" smtClean="0">
                <a:solidFill>
                  <a:schemeClr val="bg1"/>
                </a:solidFill>
                <a:latin typeface="+mj-lt"/>
                <a:ea typeface="Tahoma" panose="020B0604030504040204" pitchFamily="34" charset="0"/>
                <a:cs typeface="Arial" panose="020B0604020202020204" pitchFamily="34" charset="0"/>
              </a:rPr>
              <a:t>Does PCP know </a:t>
            </a:r>
            <a:r>
              <a:rPr lang="en-US" i="1" dirty="0" smtClean="0">
                <a:solidFill>
                  <a:schemeClr val="bg1"/>
                </a:solidFill>
                <a:latin typeface="+mj-lt"/>
                <a:ea typeface="Tahoma" panose="020B0604030504040204" pitchFamily="34" charset="0"/>
                <a:cs typeface="Arial" panose="020B0604020202020204" pitchFamily="34" charset="0"/>
              </a:rPr>
              <a:t>exactly</a:t>
            </a:r>
            <a:r>
              <a:rPr lang="en-US" dirty="0" smtClean="0">
                <a:solidFill>
                  <a:schemeClr val="bg1"/>
                </a:solidFill>
                <a:latin typeface="+mj-lt"/>
                <a:ea typeface="Tahoma" panose="020B0604030504040204" pitchFamily="34" charset="0"/>
                <a:cs typeface="Arial" panose="020B0604020202020204" pitchFamily="34" charset="0"/>
              </a:rPr>
              <a:t> the procedure the patient will undergo.</a:t>
            </a:r>
            <a:endParaRPr lang="en-US" dirty="0">
              <a:solidFill>
                <a:schemeClr val="bg1"/>
              </a:solidFill>
              <a:latin typeface="+mj-lt"/>
            </a:endParaRPr>
          </a:p>
          <a:p>
            <a:pPr algn="just" defTabSz="1066800">
              <a:spcBef>
                <a:spcPct val="0"/>
              </a:spcBef>
              <a:spcAft>
                <a:spcPts val="600"/>
              </a:spcAft>
            </a:pPr>
            <a:endParaRPr lang="en-US"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14" name="Rectangle 13"/>
          <p:cNvSpPr/>
          <p:nvPr/>
        </p:nvSpPr>
        <p:spPr>
          <a:xfrm>
            <a:off x="769309" y="1520253"/>
            <a:ext cx="4463439" cy="461665"/>
          </a:xfrm>
          <a:prstGeom prst="rect">
            <a:avLst/>
          </a:prstGeom>
        </p:spPr>
        <p:txBody>
          <a:bodyPr wrap="square">
            <a:spAutoFit/>
          </a:bodyPr>
          <a:lstStyle/>
          <a:p>
            <a:pPr algn="just"/>
            <a:r>
              <a:rPr lang="en-US" sz="2400" b="1" dirty="0" smtClean="0">
                <a:solidFill>
                  <a:schemeClr val="bg1"/>
                </a:solidFill>
                <a:ea typeface="Calibri" panose="020F0502020204030204" pitchFamily="34" charset="0"/>
              </a:rPr>
              <a:t>No Notation re: Catheter </a:t>
            </a:r>
            <a:endParaRPr lang="en-US" sz="2400" b="1" dirty="0">
              <a:solidFill>
                <a:schemeClr val="bg1"/>
              </a:solidFill>
              <a:ea typeface="Calibri" panose="020F0502020204030204" pitchFamily="34" charset="0"/>
            </a:endParaRPr>
          </a:p>
        </p:txBody>
      </p:sp>
      <p:sp>
        <p:nvSpPr>
          <p:cNvPr id="15" name="Rounded Rectangle 14"/>
          <p:cNvSpPr/>
          <p:nvPr/>
        </p:nvSpPr>
        <p:spPr>
          <a:xfrm>
            <a:off x="6310646" y="3951765"/>
            <a:ext cx="5038058" cy="2085478"/>
          </a:xfrm>
          <a:prstGeom prst="roundRect">
            <a:avLst/>
          </a:prstGeom>
          <a:solidFill>
            <a:schemeClr val="accent3"/>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4" name="TextBox 3"/>
          <p:cNvSpPr txBox="1"/>
          <p:nvPr/>
        </p:nvSpPr>
        <p:spPr>
          <a:xfrm>
            <a:off x="6632154" y="4439798"/>
            <a:ext cx="4329629" cy="1449628"/>
          </a:xfrm>
          <a:prstGeom prst="rect">
            <a:avLst/>
          </a:prstGeom>
          <a:noFill/>
        </p:spPr>
        <p:txBody>
          <a:bodyPr wrap="square" rtlCol="0">
            <a:spAutoFit/>
          </a:bodyPr>
          <a:lstStyle/>
          <a:p>
            <a:pPr algn="just">
              <a:lnSpc>
                <a:spcPct val="90000"/>
              </a:lnSpc>
            </a:pPr>
            <a:r>
              <a:rPr lang="en-US" sz="2000" dirty="0">
                <a:solidFill>
                  <a:schemeClr val="bg1"/>
                </a:solidFill>
              </a:rPr>
              <a:t>J's father </a:t>
            </a:r>
            <a:r>
              <a:rPr lang="en-US" sz="2000" i="1" dirty="0">
                <a:solidFill>
                  <a:schemeClr val="bg1"/>
                </a:solidFill>
              </a:rPr>
              <a:t>was not</a:t>
            </a:r>
            <a:r>
              <a:rPr lang="en-US" sz="2000" dirty="0">
                <a:solidFill>
                  <a:schemeClr val="bg1"/>
                </a:solidFill>
              </a:rPr>
              <a:t> told about the desaturation episode, and s/s of future episodes to watch for at home.</a:t>
            </a:r>
          </a:p>
          <a:p>
            <a:pPr algn="l">
              <a:lnSpc>
                <a:spcPct val="90000"/>
              </a:lnSpc>
            </a:pPr>
            <a:endParaRPr lang="en-US" sz="1800" dirty="0" err="1">
              <a:solidFill>
                <a:schemeClr val="tx2"/>
              </a:solidFill>
            </a:endParaRPr>
          </a:p>
        </p:txBody>
      </p:sp>
      <p:sp>
        <p:nvSpPr>
          <p:cNvPr id="8" name="Rectangle 7"/>
          <p:cNvSpPr/>
          <p:nvPr/>
        </p:nvSpPr>
        <p:spPr>
          <a:xfrm>
            <a:off x="536154" y="2165451"/>
            <a:ext cx="4594646" cy="1754326"/>
          </a:xfrm>
          <a:prstGeom prst="rect">
            <a:avLst/>
          </a:prstGeom>
        </p:spPr>
        <p:txBody>
          <a:bodyPr wrap="square">
            <a:spAutoFit/>
          </a:bodyPr>
          <a:lstStyle/>
          <a:p>
            <a:pPr marL="285750" indent="-285750">
              <a:buFont typeface="Arial" panose="020B0604020202020204" pitchFamily="34" charset="0"/>
              <a:buChar char="•"/>
            </a:pPr>
            <a:r>
              <a:rPr lang="en-US" dirty="0">
                <a:solidFill>
                  <a:schemeClr val="bg1"/>
                </a:solidFill>
              </a:rPr>
              <a:t> </a:t>
            </a:r>
            <a:r>
              <a:rPr lang="en-US" dirty="0" smtClean="0">
                <a:solidFill>
                  <a:schemeClr val="bg1"/>
                </a:solidFill>
              </a:rPr>
              <a:t>Need to know fluid input/output especially during long procedures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smtClean="0">
                <a:solidFill>
                  <a:schemeClr val="bg1"/>
                </a:solidFill>
              </a:rPr>
              <a:t>No indicia whether temperature being taken—important when coupled with no fluid data.</a:t>
            </a:r>
            <a:endParaRPr lang="en-US" dirty="0">
              <a:solidFill>
                <a:schemeClr val="bg1"/>
              </a:solidFill>
            </a:endParaRPr>
          </a:p>
        </p:txBody>
      </p:sp>
    </p:spTree>
    <p:extLst>
      <p:ext uri="{BB962C8B-B14F-4D97-AF65-F5344CB8AC3E}">
        <p14:creationId xmlns:p14="http://schemas.microsoft.com/office/powerpoint/2010/main" xmlns="" val="5279027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ost-Treatment Errors</a:t>
            </a:r>
            <a:endParaRPr lang="en-US" dirty="0"/>
          </a:p>
        </p:txBody>
      </p:sp>
      <p:sp>
        <p:nvSpPr>
          <p:cNvPr id="3" name="Title 3"/>
          <p:cNvSpPr txBox="1">
            <a:spLocks/>
          </p:cNvSpPr>
          <p:nvPr/>
        </p:nvSpPr>
        <p:spPr>
          <a:xfrm>
            <a:off x="929324" y="3767868"/>
            <a:ext cx="10333351" cy="537385"/>
          </a:xfrm>
          <a:prstGeom prst="rect">
            <a:avLst/>
          </a:prstGeom>
        </p:spPr>
        <p:txBody>
          <a:bodyPr vert="horz" lIns="91440" tIns="45720" rIns="91440" bIns="45720" rtlCol="0" anchor="t">
            <a:noAutofit/>
          </a:bodyPr>
          <a:lstStyle>
            <a:lvl1pPr algn="ctr" defTabSz="1306218" rtl="0" eaLnBrk="1" latinLnBrk="0" hangingPunct="1">
              <a:lnSpc>
                <a:spcPct val="90000"/>
              </a:lnSpc>
              <a:spcBef>
                <a:spcPct val="0"/>
              </a:spcBef>
              <a:buNone/>
              <a:defRPr sz="3200" b="1" kern="1200">
                <a:solidFill>
                  <a:schemeClr val="tx2"/>
                </a:solidFill>
                <a:latin typeface="+mj-lt"/>
                <a:ea typeface="+mj-ea"/>
                <a:cs typeface="+mj-cs"/>
              </a:defRPr>
            </a:lvl1pPr>
          </a:lstStyle>
          <a:p>
            <a:r>
              <a:rPr lang="en-US" dirty="0" smtClean="0">
                <a:solidFill>
                  <a:srgbClr val="005EC0"/>
                </a:solidFill>
              </a:rPr>
              <a:t>Failure to Follow-Up</a:t>
            </a:r>
            <a:endParaRPr lang="en-US" dirty="0">
              <a:solidFill>
                <a:srgbClr val="005EC0"/>
              </a:solidFill>
            </a:endParaRPr>
          </a:p>
        </p:txBody>
      </p:sp>
    </p:spTree>
    <p:custDataLst>
      <p:tags r:id="rId1"/>
    </p:custDataLst>
    <p:extLst>
      <p:ext uri="{BB962C8B-B14F-4D97-AF65-F5344CB8AC3E}">
        <p14:creationId xmlns:p14="http://schemas.microsoft.com/office/powerpoint/2010/main" xmlns="" val="695357274"/>
      </p:ext>
    </p:extLst>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operative Errors: Failure to Follow-Up</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38</a:t>
            </a:fld>
            <a:endParaRPr lang="en-US" dirty="0"/>
          </a:p>
        </p:txBody>
      </p:sp>
      <p:sp>
        <p:nvSpPr>
          <p:cNvPr id="10" name="TextBox 9"/>
          <p:cNvSpPr txBox="1"/>
          <p:nvPr/>
        </p:nvSpPr>
        <p:spPr>
          <a:xfrm>
            <a:off x="414731" y="1607673"/>
            <a:ext cx="8780443" cy="1172629"/>
          </a:xfrm>
          <a:prstGeom prst="rect">
            <a:avLst/>
          </a:prstGeom>
          <a:noFill/>
        </p:spPr>
        <p:txBody>
          <a:bodyPr wrap="square" rtlCol="0">
            <a:spAutoFit/>
          </a:bodyPr>
          <a:lstStyle/>
          <a:p>
            <a:pPr marL="457200" indent="-457200" algn="l">
              <a:lnSpc>
                <a:spcPct val="90000"/>
              </a:lnSpc>
              <a:buFont typeface="Arial" panose="020B0604020202020204" pitchFamily="34" charset="0"/>
              <a:buChar char="•"/>
            </a:pPr>
            <a:r>
              <a:rPr lang="en-US" sz="2600" dirty="0" smtClean="0">
                <a:solidFill>
                  <a:schemeClr val="tx2"/>
                </a:solidFill>
              </a:rPr>
              <a:t>Poor patient communication </a:t>
            </a:r>
          </a:p>
          <a:p>
            <a:pPr marL="457200" indent="-457200" algn="l">
              <a:lnSpc>
                <a:spcPct val="90000"/>
              </a:lnSpc>
              <a:buFont typeface="Arial" panose="020B0604020202020204" pitchFamily="34" charset="0"/>
              <a:buChar char="•"/>
            </a:pPr>
            <a:r>
              <a:rPr lang="en-US" sz="2600" dirty="0" smtClean="0">
                <a:solidFill>
                  <a:schemeClr val="tx2"/>
                </a:solidFill>
              </a:rPr>
              <a:t>Poor management + office follow-up systems</a:t>
            </a:r>
          </a:p>
          <a:p>
            <a:pPr marL="457200" indent="-457200" algn="l">
              <a:lnSpc>
                <a:spcPct val="90000"/>
              </a:lnSpc>
              <a:buFont typeface="Arial" panose="020B0604020202020204" pitchFamily="34" charset="0"/>
              <a:buChar char="•"/>
            </a:pPr>
            <a:r>
              <a:rPr lang="en-US" sz="2600" dirty="0" smtClean="0">
                <a:solidFill>
                  <a:schemeClr val="tx2"/>
                </a:solidFill>
              </a:rPr>
              <a:t>Clerical error</a:t>
            </a:r>
            <a:endParaRPr lang="en-US" sz="2600" dirty="0">
              <a:solidFill>
                <a:schemeClr val="tx2"/>
              </a:solidFill>
            </a:endParaRPr>
          </a:p>
        </p:txBody>
      </p:sp>
      <p:sp>
        <p:nvSpPr>
          <p:cNvPr id="5" name="Rectangle 4"/>
          <p:cNvSpPr/>
          <p:nvPr/>
        </p:nvSpPr>
        <p:spPr>
          <a:xfrm>
            <a:off x="-301449" y="3731178"/>
            <a:ext cx="12266077" cy="2492990"/>
          </a:xfrm>
          <a:prstGeom prst="rect">
            <a:avLst/>
          </a:prstGeom>
        </p:spPr>
        <p:txBody>
          <a:bodyPr wrap="square">
            <a:spAutoFit/>
          </a:bodyPr>
          <a:lstStyle/>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detect + diagnose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oral cancer</a:t>
            </a: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detect + diagnose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nerve injury</a:t>
            </a:r>
            <a:r>
              <a:rPr lang="en-US" altLang="en-US" sz="2600" dirty="0" smtClean="0">
                <a:solidFill>
                  <a:schemeClr val="tx2"/>
                </a:solidFill>
                <a:latin typeface="+mj-lt"/>
                <a:ea typeface="Trebuchet MS" panose="020B0703020202090204" pitchFamily="34" charset="0"/>
                <a:cs typeface="Trebuchet MS" panose="020B0703020202090204" pitchFamily="34" charset="0"/>
              </a:rPr>
              <a:t>; </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timely diagnose a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mandibular fracture</a:t>
            </a:r>
            <a:r>
              <a:rPr lang="en-US" altLang="en-US" sz="2600" dirty="0" smtClean="0">
                <a:solidFill>
                  <a:schemeClr val="tx2"/>
                </a:solidFill>
                <a:latin typeface="+mj-lt"/>
                <a:ea typeface="Trebuchet MS" panose="020B0703020202090204" pitchFamily="34" charset="0"/>
                <a:cs typeface="Trebuchet MS" panose="020B0703020202090204" pitchFamily="34" charset="0"/>
              </a:rPr>
              <a:t>;</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recognize signs + symptoms of an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infection</a:t>
            </a:r>
            <a:r>
              <a:rPr lang="en-US" altLang="en-US" sz="2600" dirty="0" smtClean="0">
                <a:solidFill>
                  <a:schemeClr val="tx2"/>
                </a:solidFill>
                <a:latin typeface="+mj-lt"/>
                <a:ea typeface="Trebuchet MS" panose="020B0703020202090204" pitchFamily="34" charset="0"/>
                <a:cs typeface="Trebuchet MS" panose="020B0703020202090204" pitchFamily="34" charset="0"/>
              </a:rPr>
              <a:t> and refer patient for antibiotics or refer patient on for future treatment; and</a:t>
            </a:r>
          </a:p>
          <a:p>
            <a:pPr marL="1187267" lvl="2" indent="-457200">
              <a:buFont typeface="Arial" panose="020B0604020202020204" pitchFamily="34" charset="0"/>
              <a:buChar char="•"/>
            </a:pPr>
            <a:r>
              <a:rPr lang="en-US" altLang="en-US" sz="2600" dirty="0" smtClean="0">
                <a:solidFill>
                  <a:schemeClr val="tx2"/>
                </a:solidFill>
                <a:latin typeface="+mj-lt"/>
                <a:ea typeface="Trebuchet MS" panose="020B0703020202090204" pitchFamily="34" charset="0"/>
                <a:cs typeface="Trebuchet MS" panose="020B0703020202090204" pitchFamily="34" charset="0"/>
              </a:rPr>
              <a:t>Failure to f/u on </a:t>
            </a:r>
            <a:r>
              <a:rPr lang="en-US" altLang="en-US" sz="2600" u="sng" dirty="0" smtClean="0">
                <a:solidFill>
                  <a:schemeClr val="tx2"/>
                </a:solidFill>
                <a:latin typeface="+mj-lt"/>
                <a:ea typeface="Trebuchet MS" panose="020B0703020202090204" pitchFamily="34" charset="0"/>
                <a:cs typeface="Trebuchet MS" panose="020B0703020202090204" pitchFamily="34" charset="0"/>
              </a:rPr>
              <a:t>ordered labs </a:t>
            </a:r>
            <a:r>
              <a:rPr lang="en-US" altLang="en-US" sz="2600" dirty="0" smtClean="0">
                <a:solidFill>
                  <a:schemeClr val="tx2"/>
                </a:solidFill>
                <a:latin typeface="+mj-lt"/>
                <a:ea typeface="Trebuchet MS" panose="020B0703020202090204" pitchFamily="34" charset="0"/>
                <a:cs typeface="Trebuchet MS" panose="020B0703020202090204" pitchFamily="34" charset="0"/>
              </a:rPr>
              <a:t>+ imaging.</a:t>
            </a:r>
            <a:endParaRPr lang="en-US" altLang="en-US" sz="2600" dirty="0">
              <a:solidFill>
                <a:schemeClr val="tx2"/>
              </a:solidFill>
              <a:latin typeface="+mj-lt"/>
              <a:ea typeface="Trebuchet MS" panose="020B0703020202090204" pitchFamily="34" charset="0"/>
              <a:cs typeface="Trebuchet MS" panose="020B0703020202090204" pitchFamily="34" charset="0"/>
            </a:endParaRPr>
          </a:p>
        </p:txBody>
      </p:sp>
      <p:sp>
        <p:nvSpPr>
          <p:cNvPr id="11" name="Rounded Rectangle 10"/>
          <p:cNvSpPr/>
          <p:nvPr/>
        </p:nvSpPr>
        <p:spPr>
          <a:xfrm>
            <a:off x="353613" y="776026"/>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Occurs due to: </a:t>
            </a:r>
            <a:endParaRPr lang="en-US" sz="2400" dirty="0">
              <a:solidFill>
                <a:schemeClr val="bg1"/>
              </a:solidFill>
            </a:endParaRPr>
          </a:p>
        </p:txBody>
      </p:sp>
      <p:sp>
        <p:nvSpPr>
          <p:cNvPr id="12" name="Rounded Rectangle 11"/>
          <p:cNvSpPr/>
          <p:nvPr/>
        </p:nvSpPr>
        <p:spPr>
          <a:xfrm>
            <a:off x="353613" y="3023283"/>
            <a:ext cx="11180368" cy="5886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2400" dirty="0" smtClean="0">
                <a:solidFill>
                  <a:schemeClr val="bg1"/>
                </a:solidFill>
                <a:latin typeface="Trebuchet MS" panose="020B0703020202090204" pitchFamily="34" charset="0"/>
              </a:rPr>
              <a:t>Examples:</a:t>
            </a:r>
            <a:endParaRPr lang="en-US" sz="2400" dirty="0">
              <a:solidFill>
                <a:schemeClr val="bg1"/>
              </a:solidFill>
            </a:endParaRPr>
          </a:p>
        </p:txBody>
      </p:sp>
    </p:spTree>
    <p:extLst>
      <p:ext uri="{BB962C8B-B14F-4D97-AF65-F5344CB8AC3E}">
        <p14:creationId xmlns:p14="http://schemas.microsoft.com/office/powerpoint/2010/main" xmlns="" val="42044075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4: Postoperative Errors: Failure to Follow-Up</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39</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1386708760"/>
              </p:ext>
            </p:extLst>
          </p:nvPr>
        </p:nvGraphicFramePr>
        <p:xfrm>
          <a:off x="727075" y="851049"/>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790838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AEA79C8D-6D93-1C48-ABAA-7ACB514DF0E0}"/>
              </a:ext>
            </a:extLst>
          </p:cNvPr>
          <p:cNvPicPr>
            <a:picLocks noChangeAspect="1"/>
          </p:cNvPicPr>
          <p:nvPr/>
        </p:nvPicPr>
        <p:blipFill>
          <a:blip r:embed="rId4"/>
          <a:stretch>
            <a:fillRect/>
          </a:stretch>
        </p:blipFill>
        <p:spPr>
          <a:xfrm>
            <a:off x="2737126" y="3000467"/>
            <a:ext cx="6717748" cy="977900"/>
          </a:xfrm>
          <a:prstGeom prst="rect">
            <a:avLst/>
          </a:prstGeom>
        </p:spPr>
      </p:pic>
      <p:sp>
        <p:nvSpPr>
          <p:cNvPr id="2" name="Rectangle 1"/>
          <p:cNvSpPr/>
          <p:nvPr/>
        </p:nvSpPr>
        <p:spPr>
          <a:xfrm>
            <a:off x="886754" y="3507510"/>
            <a:ext cx="10418493" cy="1147174"/>
          </a:xfrm>
          <a:prstGeom prst="rect">
            <a:avLst/>
          </a:prstGeom>
        </p:spPr>
        <p:txBody>
          <a:bodyPr wrap="none">
            <a:spAutoFit/>
          </a:bodyPr>
          <a:lstStyle/>
          <a:p>
            <a:pPr algn="ctr">
              <a:lnSpc>
                <a:spcPts val="10000"/>
              </a:lnSpc>
            </a:pPr>
            <a:r>
              <a:rPr lang="en-US" sz="3500" b="1" dirty="0">
                <a:solidFill>
                  <a:srgbClr val="002F6B"/>
                </a:solidFill>
                <a:latin typeface="Meiryo" panose="020B0604030504040204" pitchFamily="34" charset="-128"/>
                <a:ea typeface="Meiryo" panose="020B0604030504040204" pitchFamily="34" charset="-128"/>
                <a:cs typeface="Arial" panose="020B0604020202020204" pitchFamily="34" charset="0"/>
              </a:rPr>
              <a:t>The Industry Leader in Malpractice Insurance</a:t>
            </a:r>
          </a:p>
        </p:txBody>
      </p:sp>
    </p:spTree>
    <p:custDataLst>
      <p:tags r:id="rId1"/>
    </p:custDataLst>
    <p:extLst>
      <p:ext uri="{BB962C8B-B14F-4D97-AF65-F5344CB8AC3E}">
        <p14:creationId xmlns:p14="http://schemas.microsoft.com/office/powerpoint/2010/main" xmlns="" val="815883961"/>
      </p:ext>
    </p:extLst>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a:t>
            </a:r>
            <a:r>
              <a:rPr lang="en-US" dirty="0" smtClean="0"/>
              <a:t>#4: </a:t>
            </a:r>
            <a:r>
              <a:rPr lang="en-US" dirty="0"/>
              <a:t>Postoperative Errors: Failure to Follow-Up</a:t>
            </a:r>
          </a:p>
        </p:txBody>
      </p:sp>
      <p:sp>
        <p:nvSpPr>
          <p:cNvPr id="3" name="Slide Number Placeholder 2"/>
          <p:cNvSpPr>
            <a:spLocks noGrp="1"/>
          </p:cNvSpPr>
          <p:nvPr>
            <p:ph type="sldNum" sz="quarter" idx="12"/>
          </p:nvPr>
        </p:nvSpPr>
        <p:spPr/>
        <p:txBody>
          <a:bodyPr/>
          <a:lstStyle/>
          <a:p>
            <a:fld id="{DA135043-C596-1A48-8BDA-03EB29A64DF4}" type="slidenum">
              <a:rPr lang="en-US" smtClean="0"/>
              <a:pPr/>
              <a:t>40</a:t>
            </a:fld>
            <a:endParaRPr lang="en-US" dirty="0"/>
          </a:p>
        </p:txBody>
      </p:sp>
      <p:grpSp>
        <p:nvGrpSpPr>
          <p:cNvPr id="8" name="Group 7"/>
          <p:cNvGrpSpPr/>
          <p:nvPr/>
        </p:nvGrpSpPr>
        <p:grpSpPr>
          <a:xfrm>
            <a:off x="328946" y="1693632"/>
            <a:ext cx="5038058" cy="3859443"/>
            <a:chOff x="0" y="140476"/>
            <a:chExt cx="5038058" cy="2156284"/>
          </a:xfrm>
        </p:grpSpPr>
        <p:sp>
          <p:nvSpPr>
            <p:cNvPr id="9" name="Rounded Rectangle 8"/>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0"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11" name="Rounded Rectangle 10"/>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3" name="Rounded Rectangle 12"/>
          <p:cNvSpPr/>
          <p:nvPr/>
        </p:nvSpPr>
        <p:spPr>
          <a:xfrm>
            <a:off x="6310646" y="4295180"/>
            <a:ext cx="5038058" cy="1563754"/>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1900" dirty="0" smtClean="0">
                <a:solidFill>
                  <a:schemeClr val="bg1"/>
                </a:solidFill>
              </a:rPr>
              <a:t>Although </a:t>
            </a:r>
            <a:r>
              <a:rPr lang="en-US" sz="1900" dirty="0">
                <a:solidFill>
                  <a:schemeClr val="bg1"/>
                </a:solidFill>
              </a:rPr>
              <a:t>follow-up is imperative, setting the foundation through good patient communication can keep most of these cases from evolving in the first place</a:t>
            </a:r>
            <a:endParaRPr lang="en-US" sz="1900" dirty="0" smtClean="0">
              <a:solidFill>
                <a:schemeClr val="bg1"/>
              </a:solidFill>
            </a:endParaRPr>
          </a:p>
        </p:txBody>
      </p:sp>
      <p:sp>
        <p:nvSpPr>
          <p:cNvPr id="14" name="Rectangle 13"/>
          <p:cNvSpPr/>
          <p:nvPr/>
        </p:nvSpPr>
        <p:spPr>
          <a:xfrm>
            <a:off x="6462710" y="1298280"/>
            <a:ext cx="4733925" cy="492443"/>
          </a:xfrm>
          <a:prstGeom prst="rect">
            <a:avLst/>
          </a:prstGeom>
        </p:spPr>
        <p:txBody>
          <a:bodyPr wrap="square">
            <a:spAutoFit/>
          </a:bodyPr>
          <a:lstStyle/>
          <a:p>
            <a:pPr algn="just" defTabSz="1066800">
              <a:spcBef>
                <a:spcPct val="0"/>
              </a:spcBef>
              <a:spcAft>
                <a:spcPts val="600"/>
              </a:spcAft>
            </a:pPr>
            <a:r>
              <a:rPr lang="en-US" sz="2600" b="1" dirty="0" smtClean="0">
                <a:solidFill>
                  <a:schemeClr val="bg1"/>
                </a:solidFill>
              </a:rPr>
              <a:t>Pre-Op </a:t>
            </a:r>
            <a:r>
              <a:rPr lang="en-US" sz="2600" b="1" dirty="0" err="1" smtClean="0">
                <a:solidFill>
                  <a:schemeClr val="bg1"/>
                </a:solidFill>
              </a:rPr>
              <a:t>Abx</a:t>
            </a:r>
            <a:r>
              <a:rPr lang="en-US" sz="2600" b="1" dirty="0" smtClean="0">
                <a:solidFill>
                  <a:schemeClr val="bg1"/>
                </a:solidFill>
              </a:rPr>
              <a:t> Prescription </a:t>
            </a:r>
            <a:endParaRPr lang="en-US" sz="2600" b="1" dirty="0">
              <a:solidFill>
                <a:schemeClr val="bg1"/>
              </a:solidFill>
            </a:endParaRPr>
          </a:p>
        </p:txBody>
      </p:sp>
      <p:sp>
        <p:nvSpPr>
          <p:cNvPr id="15" name="Rectangle 14"/>
          <p:cNvSpPr/>
          <p:nvPr/>
        </p:nvSpPr>
        <p:spPr>
          <a:xfrm>
            <a:off x="481012" y="1998255"/>
            <a:ext cx="4733925" cy="3431709"/>
          </a:xfrm>
          <a:prstGeom prst="rect">
            <a:avLst/>
          </a:prstGeom>
        </p:spPr>
        <p:txBody>
          <a:bodyPr wrap="square">
            <a:spAutoFit/>
          </a:bodyPr>
          <a:lstStyle/>
          <a:p>
            <a:pPr algn="just" defTabSz="1066800">
              <a:spcBef>
                <a:spcPct val="0"/>
              </a:spcBef>
              <a:spcAft>
                <a:spcPts val="600"/>
              </a:spcAft>
            </a:pPr>
            <a:r>
              <a:rPr lang="en-US" sz="2600" b="1"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s call to the office:</a:t>
            </a:r>
          </a:p>
          <a:p>
            <a:pPr marL="342900" indent="-342900" algn="just" defTabSz="1066800">
              <a:spcBef>
                <a:spcPct val="0"/>
              </a:spcBef>
              <a:spcAft>
                <a:spcPts val="600"/>
              </a:spcAft>
              <a:buFont typeface="Arial" panose="020B0604020202020204" pitchFamily="34" charset="0"/>
              <a:buChar char="•"/>
            </a:pPr>
            <a:r>
              <a:rPr lang="en-US" sz="1900" dirty="0" smtClean="0">
                <a:solidFill>
                  <a:schemeClr val="bg1"/>
                </a:solidFill>
                <a:latin typeface="+mj-lt"/>
              </a:rPr>
              <a:t>A cc: swelling, but he was (a) never told to come in; (b) not asked about extent of swelling or location.</a:t>
            </a:r>
          </a:p>
          <a:p>
            <a:pPr marL="342900" indent="-342900" algn="just" defTabSz="1066800">
              <a:spcBef>
                <a:spcPct val="0"/>
              </a:spcBef>
              <a:spcAft>
                <a:spcPts val="600"/>
              </a:spcAft>
              <a:buFont typeface="Arial" panose="020B0604020202020204" pitchFamily="34" charset="0"/>
              <a:buChar char="•"/>
            </a:pPr>
            <a:r>
              <a:rPr lang="en-US" sz="1900" dirty="0" smtClean="0">
                <a:solidFill>
                  <a:schemeClr val="bg1"/>
                </a:solidFill>
                <a:latin typeface="+mj-lt"/>
              </a:rPr>
              <a:t>A should have been told to come in when he cc: swelling. </a:t>
            </a:r>
          </a:p>
          <a:p>
            <a:pPr marL="342900" indent="-342900" algn="just" defTabSz="1066800">
              <a:spcBef>
                <a:spcPct val="0"/>
              </a:spcBef>
              <a:spcAft>
                <a:spcPts val="600"/>
              </a:spcAft>
              <a:buFont typeface="Arial" panose="020B0604020202020204" pitchFamily="34" charset="0"/>
              <a:buChar char="•"/>
            </a:pPr>
            <a:r>
              <a:rPr lang="en-US" sz="1900" dirty="0" smtClean="0">
                <a:solidFill>
                  <a:schemeClr val="bg1"/>
                </a:solidFill>
                <a:latin typeface="+mj-lt"/>
                <a:ea typeface="Tahoma" panose="020B0604030504040204" pitchFamily="34" charset="0"/>
                <a:cs typeface="Arial" panose="020B0604020202020204" pitchFamily="34" charset="0"/>
              </a:rPr>
              <a:t>Dr. M never called A back to check in.</a:t>
            </a:r>
          </a:p>
          <a:p>
            <a:pPr marL="342900" indent="-342900" algn="just" defTabSz="1066800">
              <a:spcBef>
                <a:spcPct val="0"/>
              </a:spcBef>
              <a:spcAft>
                <a:spcPts val="600"/>
              </a:spcAft>
              <a:buFont typeface="Arial" panose="020B0604020202020204" pitchFamily="34" charset="0"/>
              <a:buChar char="•"/>
            </a:pPr>
            <a:r>
              <a:rPr lang="en-US" sz="1900" dirty="0" smtClean="0">
                <a:solidFill>
                  <a:schemeClr val="bg1"/>
                </a:solidFill>
                <a:latin typeface="+mj-lt"/>
                <a:ea typeface="Tahoma" panose="020B0604030504040204" pitchFamily="34" charset="0"/>
                <a:cs typeface="Arial" panose="020B0604020202020204" pitchFamily="34" charset="0"/>
              </a:rPr>
              <a:t>Should </a:t>
            </a:r>
            <a:r>
              <a:rPr lang="en-US" sz="1900" i="1" dirty="0" smtClean="0">
                <a:solidFill>
                  <a:schemeClr val="bg1"/>
                </a:solidFill>
                <a:latin typeface="+mj-lt"/>
                <a:ea typeface="Tahoma" panose="020B0604030504040204" pitchFamily="34" charset="0"/>
                <a:cs typeface="Arial" panose="020B0604020202020204" pitchFamily="34" charset="0"/>
              </a:rPr>
              <a:t>never</a:t>
            </a:r>
            <a:r>
              <a:rPr lang="en-US" sz="1900" dirty="0" smtClean="0">
                <a:solidFill>
                  <a:schemeClr val="bg1"/>
                </a:solidFill>
                <a:latin typeface="+mj-lt"/>
                <a:ea typeface="Tahoma" panose="020B0604030504040204" pitchFamily="34" charset="0"/>
                <a:cs typeface="Arial" panose="020B0604020202020204" pitchFamily="34" charset="0"/>
              </a:rPr>
              <a:t> have given Medrol as it is a </a:t>
            </a:r>
            <a:r>
              <a:rPr lang="en-US" sz="1900" u="sng" dirty="0" smtClean="0">
                <a:solidFill>
                  <a:schemeClr val="bg1"/>
                </a:solidFill>
                <a:latin typeface="+mj-lt"/>
                <a:ea typeface="Tahoma" panose="020B0604030504040204" pitchFamily="34" charset="0"/>
                <a:cs typeface="Arial" panose="020B0604020202020204" pitchFamily="34" charset="0"/>
              </a:rPr>
              <a:t>corticosteroid</a:t>
            </a:r>
            <a:r>
              <a:rPr lang="en-US" sz="1900" dirty="0" smtClean="0">
                <a:solidFill>
                  <a:schemeClr val="bg1"/>
                </a:solidFill>
                <a:latin typeface="+mj-lt"/>
                <a:ea typeface="Tahoma" panose="020B0604030504040204" pitchFamily="34" charset="0"/>
                <a:cs typeface="Arial" panose="020B0604020202020204" pitchFamily="34" charset="0"/>
              </a:rPr>
              <a:t> + will reduce ability to fight infection.</a:t>
            </a:r>
            <a:endParaRPr lang="en-US" sz="1900" dirty="0">
              <a:solidFill>
                <a:schemeClr val="bg1"/>
              </a:solidFill>
              <a:latin typeface="+mj-lt"/>
              <a:ea typeface="Tahoma" panose="020B0604030504040204" pitchFamily="34" charset="0"/>
              <a:cs typeface="Arial" panose="020B0604020202020204" pitchFamily="34" charset="0"/>
            </a:endParaRPr>
          </a:p>
        </p:txBody>
      </p:sp>
      <p:sp>
        <p:nvSpPr>
          <p:cNvPr id="12" name="Rectangle 11"/>
          <p:cNvSpPr/>
          <p:nvPr/>
        </p:nvSpPr>
        <p:spPr>
          <a:xfrm>
            <a:off x="6462709" y="1882034"/>
            <a:ext cx="4733925" cy="1415772"/>
          </a:xfrm>
          <a:prstGeom prst="rect">
            <a:avLst/>
          </a:prstGeom>
        </p:spPr>
        <p:txBody>
          <a:bodyPr wrap="square">
            <a:spAutoFit/>
          </a:bodyPr>
          <a:lstStyle/>
          <a:p>
            <a:pPr marL="342900" indent="-342900" algn="just" defTabSz="1066800">
              <a:spcBef>
                <a:spcPct val="0"/>
              </a:spcBef>
              <a:spcAft>
                <a:spcPts val="600"/>
              </a:spcAft>
              <a:buFont typeface="Arial" panose="020B0604020202020204" pitchFamily="34" charset="0"/>
              <a:buChar char="•"/>
            </a:pPr>
            <a:r>
              <a:rPr lang="en-US" sz="1900" dirty="0" smtClean="0">
                <a:solidFill>
                  <a:schemeClr val="bg1"/>
                </a:solidFill>
                <a:latin typeface="+mj-lt"/>
                <a:ea typeface="Tahoma" panose="020B0604030504040204" pitchFamily="34" charset="0"/>
                <a:cs typeface="Arial" panose="020B0604020202020204" pitchFamily="34" charset="0"/>
              </a:rPr>
              <a:t>Judgment call</a:t>
            </a:r>
          </a:p>
          <a:p>
            <a:pPr algn="just" defTabSz="1066800">
              <a:spcBef>
                <a:spcPct val="0"/>
              </a:spcBef>
              <a:spcAft>
                <a:spcPts val="600"/>
              </a:spcAft>
            </a:pPr>
            <a:endParaRPr lang="en-US" sz="1900" dirty="0" smtClean="0">
              <a:solidFill>
                <a:schemeClr val="bg1"/>
              </a:solidFill>
              <a:latin typeface="+mj-lt"/>
              <a:ea typeface="Tahoma" panose="020B0604030504040204" pitchFamily="34" charset="0"/>
              <a:cs typeface="Arial" panose="020B0604020202020204" pitchFamily="34" charset="0"/>
            </a:endParaRPr>
          </a:p>
          <a:p>
            <a:pPr marL="342900" indent="-342900" algn="just" defTabSz="1066800">
              <a:spcBef>
                <a:spcPct val="0"/>
              </a:spcBef>
              <a:spcAft>
                <a:spcPts val="600"/>
              </a:spcAft>
              <a:buFont typeface="Arial" panose="020B0604020202020204" pitchFamily="34" charset="0"/>
              <a:buChar char="•"/>
            </a:pPr>
            <a:r>
              <a:rPr lang="en-US" sz="1900" dirty="0" smtClean="0">
                <a:solidFill>
                  <a:schemeClr val="bg1"/>
                </a:solidFill>
                <a:latin typeface="+mj-lt"/>
                <a:ea typeface="Tahoma" panose="020B0604030504040204" pitchFamily="34" charset="0"/>
                <a:cs typeface="Arial" panose="020B0604020202020204" pitchFamily="34" charset="0"/>
              </a:rPr>
              <a:t>Modern trend is to steer clear of prescribing </a:t>
            </a:r>
            <a:r>
              <a:rPr lang="en-US" sz="1900" dirty="0" err="1" smtClean="0">
                <a:solidFill>
                  <a:schemeClr val="bg1"/>
                </a:solidFill>
                <a:latin typeface="+mj-lt"/>
                <a:ea typeface="Tahoma" panose="020B0604030504040204" pitchFamily="34" charset="0"/>
                <a:cs typeface="Arial" panose="020B0604020202020204" pitchFamily="34" charset="0"/>
              </a:rPr>
              <a:t>abx</a:t>
            </a:r>
            <a:r>
              <a:rPr lang="en-US" sz="1900" dirty="0" smtClean="0">
                <a:solidFill>
                  <a:schemeClr val="bg1"/>
                </a:solidFill>
                <a:latin typeface="+mj-lt"/>
                <a:ea typeface="Tahoma" panose="020B0604030504040204" pitchFamily="34" charset="0"/>
                <a:cs typeface="Arial" panose="020B0604020202020204" pitchFamily="34" charset="0"/>
              </a:rPr>
              <a:t> when not warranted.</a:t>
            </a:r>
            <a:endParaRPr lang="en-US" sz="1900" dirty="0">
              <a:solidFill>
                <a:schemeClr val="bg1"/>
              </a:solidFill>
              <a:latin typeface="+mj-lt"/>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xmlns="" val="118827874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5: Postoperative Errors: Failure to Follow-Up</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41</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2367899566"/>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p:cNvGrpSpPr/>
          <p:nvPr/>
        </p:nvGrpSpPr>
        <p:grpSpPr>
          <a:xfrm>
            <a:off x="4929452" y="5041645"/>
            <a:ext cx="2341033" cy="706426"/>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b="1" kern="1200" dirty="0" smtClean="0"/>
                <a:t>Issues</a:t>
              </a:r>
              <a:endParaRPr lang="en-US" b="1" kern="1200" dirty="0"/>
            </a:p>
          </p:txBody>
        </p:sp>
      </p:grpSp>
    </p:spTree>
    <p:extLst>
      <p:ext uri="{BB962C8B-B14F-4D97-AF65-F5344CB8AC3E}">
        <p14:creationId xmlns:p14="http://schemas.microsoft.com/office/powerpoint/2010/main" xmlns="" val="259253083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a:t>
            </a:r>
            <a:r>
              <a:rPr lang="en-US" dirty="0" smtClean="0"/>
              <a:t>#5: </a:t>
            </a:r>
            <a:r>
              <a:rPr lang="en-US" dirty="0"/>
              <a:t>Postoperative Errors: Failure to Follow-Up</a:t>
            </a:r>
          </a:p>
        </p:txBody>
      </p:sp>
      <p:sp>
        <p:nvSpPr>
          <p:cNvPr id="3" name="Slide Number Placeholder 2"/>
          <p:cNvSpPr>
            <a:spLocks noGrp="1"/>
          </p:cNvSpPr>
          <p:nvPr>
            <p:ph type="sldNum" sz="quarter" idx="12"/>
          </p:nvPr>
        </p:nvSpPr>
        <p:spPr/>
        <p:txBody>
          <a:bodyPr/>
          <a:lstStyle/>
          <a:p>
            <a:fld id="{DA135043-C596-1A48-8BDA-03EB29A64DF4}" type="slidenum">
              <a:rPr lang="en-US" smtClean="0"/>
              <a:pPr/>
              <a:t>42</a:t>
            </a:fld>
            <a:endParaRPr lang="en-US" dirty="0"/>
          </a:p>
        </p:txBody>
      </p:sp>
      <p:grpSp>
        <p:nvGrpSpPr>
          <p:cNvPr id="8" name="Group 7"/>
          <p:cNvGrpSpPr/>
          <p:nvPr/>
        </p:nvGrpSpPr>
        <p:grpSpPr>
          <a:xfrm>
            <a:off x="328946" y="1693632"/>
            <a:ext cx="5038058" cy="3859443"/>
            <a:chOff x="0" y="140476"/>
            <a:chExt cx="5038058" cy="2156284"/>
          </a:xfrm>
        </p:grpSpPr>
        <p:sp>
          <p:nvSpPr>
            <p:cNvPr id="9" name="Rounded Rectangle 8"/>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0"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11" name="Rounded Rectangle 10"/>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3" name="Rounded Rectangle 12"/>
          <p:cNvSpPr/>
          <p:nvPr/>
        </p:nvSpPr>
        <p:spPr>
          <a:xfrm>
            <a:off x="6310646" y="4233078"/>
            <a:ext cx="5038058" cy="17240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endParaRPr lang="en-US" dirty="0" smtClean="0"/>
          </a:p>
          <a:p>
            <a:pPr algn="just"/>
            <a:r>
              <a:rPr lang="en-US" dirty="0" smtClean="0"/>
              <a:t>Had the patient followed-up as necessary, it is likely the lesion could have been resected using less invasive means</a:t>
            </a:r>
          </a:p>
        </p:txBody>
      </p:sp>
      <p:sp>
        <p:nvSpPr>
          <p:cNvPr id="14" name="Rectangle 13"/>
          <p:cNvSpPr/>
          <p:nvPr/>
        </p:nvSpPr>
        <p:spPr>
          <a:xfrm>
            <a:off x="6462712" y="1236080"/>
            <a:ext cx="4733925" cy="2662267"/>
          </a:xfrm>
          <a:prstGeom prst="rect">
            <a:avLst/>
          </a:prstGeom>
        </p:spPr>
        <p:txBody>
          <a:bodyPr wrap="square">
            <a:spAutoFit/>
          </a:bodyPr>
          <a:lstStyle/>
          <a:p>
            <a:pPr algn="just" defTabSz="1066800">
              <a:spcBef>
                <a:spcPct val="0"/>
              </a:spcBef>
              <a:spcAft>
                <a:spcPts val="600"/>
              </a:spcAft>
            </a:pPr>
            <a:r>
              <a:rPr lang="en-US" sz="2600" b="1" dirty="0" smtClean="0">
                <a:solidFill>
                  <a:schemeClr val="bg1"/>
                </a:solidFill>
                <a:latin typeface="Arial" panose="020B0604020202020204" pitchFamily="34" charset="0"/>
                <a:ea typeface="Tahoma" panose="020B0604030504040204" pitchFamily="34" charset="0"/>
                <a:cs typeface="Arial" panose="020B0604020202020204" pitchFamily="34" charset="0"/>
              </a:rPr>
              <a:t>Follow-Up Undocumented </a:t>
            </a:r>
          </a:p>
          <a:p>
            <a:pPr algn="just" defTabSz="1066800">
              <a:spcBef>
                <a:spcPct val="0"/>
              </a:spcBef>
              <a:spcAft>
                <a:spcPts val="600"/>
              </a:spcAft>
            </a:pPr>
            <a:endParaRPr lang="en-US" sz="2600" b="1" dirty="0" smtClean="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No documented instances by insured or his staff to follow-up with the patient when he missed his subsequent appointments. </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5" name="Rectangle 14"/>
          <p:cNvSpPr/>
          <p:nvPr/>
        </p:nvSpPr>
        <p:spPr>
          <a:xfrm>
            <a:off x="481012" y="1860989"/>
            <a:ext cx="4733925" cy="3954929"/>
          </a:xfrm>
          <a:prstGeom prst="rect">
            <a:avLst/>
          </a:prstGeom>
        </p:spPr>
        <p:txBody>
          <a:bodyPr wrap="square">
            <a:spAutoFit/>
          </a:bodyPr>
          <a:lstStyle/>
          <a:p>
            <a:pPr algn="just" defTabSz="1066800">
              <a:spcBef>
                <a:spcPct val="0"/>
              </a:spcBef>
              <a:spcAft>
                <a:spcPts val="600"/>
              </a:spcAft>
            </a:pPr>
            <a:r>
              <a:rPr lang="en-US" sz="2600" b="1" dirty="0" smtClean="0">
                <a:solidFill>
                  <a:schemeClr val="bg1"/>
                </a:solidFill>
                <a:latin typeface="Arial" panose="020B0604020202020204" pitchFamily="34" charset="0"/>
                <a:ea typeface="Tahoma" panose="020B0604030504040204" pitchFamily="34" charset="0"/>
                <a:cs typeface="Arial" panose="020B0604020202020204" pitchFamily="34" charset="0"/>
              </a:rPr>
              <a:t>Follow-Up Needed</a:t>
            </a: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Yes, the patient delayed in following up with insured because of travel. </a:t>
            </a:r>
          </a:p>
          <a:p>
            <a:pPr algn="just" defTabSz="1066800">
              <a:spcBef>
                <a:spcPct val="0"/>
              </a:spcBef>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But given the abnormality observed, it was incumbent to the insured to: </a:t>
            </a: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Explain </a:t>
            </a: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why</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the patient needed to follow-up, and </a:t>
            </a: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Call the patient when he did not return and advise him to follow-up.</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xmlns="" val="144526870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xmlns="" val="1362042250"/>
              </p:ext>
            </p:extLst>
          </p:nvPr>
        </p:nvGraphicFramePr>
        <p:xfrm>
          <a:off x="414731" y="415068"/>
          <a:ext cx="11337491" cy="60180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Check Mark in Circle_Cloud Blue"/>
          <p:cNvPicPr>
            <a:picLocks noChangeAspect="1"/>
          </p:cNvPicPr>
          <p:nvPr>
            <p:custDataLst>
              <p:tags r:id="rId2"/>
            </p:custDataLst>
          </p:nvPr>
        </p:nvPicPr>
        <p:blipFill rotWithShape="1">
          <a:blip r:embed="rId10"/>
          <a:srcRect l="53658" t="49361" r="4932" b="12946"/>
          <a:stretch/>
        </p:blipFill>
        <p:spPr>
          <a:xfrm>
            <a:off x="9998766" y="60545"/>
            <a:ext cx="1753456" cy="1596026"/>
          </a:xfrm>
          <a:prstGeom prst="rect">
            <a:avLst/>
          </a:prstGeom>
        </p:spPr>
      </p:pic>
      <p:sp>
        <p:nvSpPr>
          <p:cNvPr id="4" name="Slide Number Placeholder 3"/>
          <p:cNvSpPr>
            <a:spLocks noGrp="1"/>
          </p:cNvSpPr>
          <p:nvPr>
            <p:ph type="sldNum" sz="quarter" idx="12"/>
          </p:nvPr>
        </p:nvSpPr>
        <p:spPr/>
        <p:txBody>
          <a:bodyPr/>
          <a:lstStyle/>
          <a:p>
            <a:fld id="{DA135043-C596-1A48-8BDA-03EB29A64DF4}" type="slidenum">
              <a:rPr lang="en-US" smtClean="0"/>
              <a:pPr/>
              <a:t>43</a:t>
            </a:fld>
            <a:endParaRPr lang="en-US" dirty="0"/>
          </a:p>
        </p:txBody>
      </p:sp>
    </p:spTree>
    <p:custDataLst>
      <p:tags r:id="rId1"/>
    </p:custDataLst>
    <p:extLst>
      <p:ext uri="{BB962C8B-B14F-4D97-AF65-F5344CB8AC3E}">
        <p14:creationId xmlns:p14="http://schemas.microsoft.com/office/powerpoint/2010/main" xmlns="" val="2650694891"/>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xmlns="" val="3585230941"/>
              </p:ext>
            </p:extLst>
          </p:nvPr>
        </p:nvGraphicFramePr>
        <p:xfrm>
          <a:off x="414731" y="415068"/>
          <a:ext cx="11337491" cy="60180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Check Mark in Circle_Cloud Blue"/>
          <p:cNvPicPr>
            <a:picLocks noChangeAspect="1"/>
          </p:cNvPicPr>
          <p:nvPr>
            <p:custDataLst>
              <p:tags r:id="rId2"/>
            </p:custDataLst>
          </p:nvPr>
        </p:nvPicPr>
        <p:blipFill rotWithShape="1">
          <a:blip r:embed="rId10"/>
          <a:srcRect l="53658" t="49361" r="4932" b="12946"/>
          <a:stretch/>
        </p:blipFill>
        <p:spPr>
          <a:xfrm>
            <a:off x="9998766" y="60545"/>
            <a:ext cx="1753456" cy="1596026"/>
          </a:xfrm>
          <a:prstGeom prst="rect">
            <a:avLst/>
          </a:prstGeom>
        </p:spPr>
      </p:pic>
      <p:sp>
        <p:nvSpPr>
          <p:cNvPr id="4" name="Slide Number Placeholder 3"/>
          <p:cNvSpPr>
            <a:spLocks noGrp="1"/>
          </p:cNvSpPr>
          <p:nvPr>
            <p:ph type="sldNum" sz="quarter" idx="12"/>
          </p:nvPr>
        </p:nvSpPr>
        <p:spPr/>
        <p:txBody>
          <a:bodyPr/>
          <a:lstStyle/>
          <a:p>
            <a:fld id="{DA135043-C596-1A48-8BDA-03EB29A64DF4}" type="slidenum">
              <a:rPr lang="en-US" smtClean="0"/>
              <a:pPr/>
              <a:t>44</a:t>
            </a:fld>
            <a:endParaRPr lang="en-US" dirty="0"/>
          </a:p>
        </p:txBody>
      </p:sp>
    </p:spTree>
    <p:custDataLst>
      <p:tags r:id="rId1"/>
    </p:custDataLst>
    <p:extLst>
      <p:ext uri="{BB962C8B-B14F-4D97-AF65-F5344CB8AC3E}">
        <p14:creationId xmlns:p14="http://schemas.microsoft.com/office/powerpoint/2010/main" xmlns="" val="4205168130"/>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Your Malpractice Carrier</a:t>
            </a:r>
            <a:endParaRPr lang="en-US" dirty="0"/>
          </a:p>
        </p:txBody>
      </p:sp>
      <p:sp>
        <p:nvSpPr>
          <p:cNvPr id="3" name="Title 3"/>
          <p:cNvSpPr txBox="1">
            <a:spLocks/>
          </p:cNvSpPr>
          <p:nvPr/>
        </p:nvSpPr>
        <p:spPr>
          <a:xfrm>
            <a:off x="929324" y="3767868"/>
            <a:ext cx="10333351" cy="537385"/>
          </a:xfrm>
          <a:prstGeom prst="rect">
            <a:avLst/>
          </a:prstGeom>
        </p:spPr>
        <p:txBody>
          <a:bodyPr vert="horz" lIns="91440" tIns="45720" rIns="91440" bIns="45720" rtlCol="0" anchor="t">
            <a:noAutofit/>
          </a:bodyPr>
          <a:lstStyle>
            <a:lvl1pPr algn="ctr" defTabSz="1306218" rtl="0" eaLnBrk="1" latinLnBrk="0" hangingPunct="1">
              <a:lnSpc>
                <a:spcPct val="90000"/>
              </a:lnSpc>
              <a:spcBef>
                <a:spcPct val="0"/>
              </a:spcBef>
              <a:buNone/>
              <a:defRPr sz="3200" b="1" kern="1200">
                <a:solidFill>
                  <a:schemeClr val="tx2"/>
                </a:solidFill>
                <a:latin typeface="+mj-lt"/>
                <a:ea typeface="+mj-ea"/>
                <a:cs typeface="+mj-cs"/>
              </a:defRPr>
            </a:lvl1pPr>
          </a:lstStyle>
          <a:p>
            <a:r>
              <a:rPr lang="en-US" dirty="0" smtClean="0">
                <a:solidFill>
                  <a:srgbClr val="005EC0"/>
                </a:solidFill>
              </a:rPr>
              <a:t>How it can </a:t>
            </a:r>
            <a:r>
              <a:rPr lang="en-US" sz="2000" dirty="0" smtClean="0">
                <a:solidFill>
                  <a:srgbClr val="005EC0"/>
                </a:solidFill>
              </a:rPr>
              <a:t>(should) </a:t>
            </a:r>
            <a:r>
              <a:rPr lang="en-US" dirty="0" smtClean="0">
                <a:solidFill>
                  <a:srgbClr val="005EC0"/>
                </a:solidFill>
              </a:rPr>
              <a:t>help</a:t>
            </a:r>
            <a:endParaRPr lang="en-US" dirty="0">
              <a:solidFill>
                <a:srgbClr val="005EC0"/>
              </a:solidFill>
            </a:endParaRPr>
          </a:p>
        </p:txBody>
      </p:sp>
    </p:spTree>
    <p:custDataLst>
      <p:tags r:id="rId1"/>
    </p:custDataLst>
    <p:extLst>
      <p:ext uri="{BB962C8B-B14F-4D97-AF65-F5344CB8AC3E}">
        <p14:creationId xmlns:p14="http://schemas.microsoft.com/office/powerpoint/2010/main" xmlns="" val="2973750698"/>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Your </a:t>
            </a:r>
            <a:r>
              <a:rPr lang="en-US" dirty="0"/>
              <a:t>M</a:t>
            </a:r>
            <a:r>
              <a:rPr lang="en-US" dirty="0" smtClean="0"/>
              <a:t>alpractice </a:t>
            </a:r>
            <a:r>
              <a:rPr lang="en-US" dirty="0"/>
              <a:t>C</a:t>
            </a:r>
            <a:r>
              <a:rPr lang="en-US" dirty="0" smtClean="0"/>
              <a:t>arrier </a:t>
            </a:r>
            <a:r>
              <a:rPr lang="en-US" dirty="0"/>
              <a:t>S</a:t>
            </a:r>
            <a:r>
              <a:rPr lang="en-US" dirty="0" smtClean="0"/>
              <a:t>hould </a:t>
            </a:r>
            <a:r>
              <a:rPr lang="en-US" dirty="0"/>
              <a:t>H</a:t>
            </a:r>
            <a:r>
              <a:rPr lang="en-US" dirty="0" smtClean="0"/>
              <a:t>elp</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46</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747658141"/>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23755051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lpractice Insurance: What Should I Look For?</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47</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2575583159"/>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406897748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A135043-C596-1A48-8BDA-03EB29A64DF4}" type="slidenum">
              <a:rPr lang="en-US" smtClean="0"/>
              <a:pPr/>
              <a:t>48</a:t>
            </a:fld>
            <a:endParaRPr lang="en-US" dirty="0"/>
          </a:p>
        </p:txBody>
      </p:sp>
      <p:pic>
        <p:nvPicPr>
          <p:cNvPr id="5" name="Content Placeholder 4">
            <a:extLst>
              <a:ext uri="{FF2B5EF4-FFF2-40B4-BE49-F238E27FC236}">
                <a16:creationId xmlns:a16="http://schemas.microsoft.com/office/drawing/2014/main" xmlns="" id="{89FB1DCA-1A22-7343-B8D2-1F2C4C038CB7}"/>
              </a:ext>
            </a:extLst>
          </p:cNvPr>
          <p:cNvPicPr>
            <a:picLocks noGrp="1" noChangeAspect="1"/>
          </p:cNvPicPr>
          <p:nvPr>
            <p:ph idx="1"/>
          </p:nvPr>
        </p:nvPicPr>
        <p:blipFill>
          <a:blip r:embed="rId2"/>
          <a:stretch>
            <a:fillRect/>
          </a:stretch>
        </p:blipFill>
        <p:spPr>
          <a:xfrm>
            <a:off x="4576867" y="715951"/>
            <a:ext cx="2555052" cy="2555052"/>
          </a:xfrm>
          <a:prstGeom prst="rect">
            <a:avLst/>
          </a:prstGeom>
        </p:spPr>
      </p:pic>
      <p:grpSp>
        <p:nvGrpSpPr>
          <p:cNvPr id="6" name="Group 5">
            <a:extLst>
              <a:ext uri="{FF2B5EF4-FFF2-40B4-BE49-F238E27FC236}">
                <a16:creationId xmlns:a16="http://schemas.microsoft.com/office/drawing/2014/main" xmlns="" id="{AA239D56-165F-AE44-8399-74587376C58F}"/>
              </a:ext>
            </a:extLst>
          </p:cNvPr>
          <p:cNvGrpSpPr/>
          <p:nvPr/>
        </p:nvGrpSpPr>
        <p:grpSpPr>
          <a:xfrm>
            <a:off x="4614173" y="3147556"/>
            <a:ext cx="2517746" cy="840708"/>
            <a:chOff x="10192337" y="10379626"/>
            <a:chExt cx="4036830" cy="1244599"/>
          </a:xfrm>
        </p:grpSpPr>
        <p:pic>
          <p:nvPicPr>
            <p:cNvPr id="7" name="Picture 6">
              <a:extLst>
                <a:ext uri="{FF2B5EF4-FFF2-40B4-BE49-F238E27FC236}">
                  <a16:creationId xmlns:a16="http://schemas.microsoft.com/office/drawing/2014/main" xmlns="" id="{24377DD3-B068-E441-8F12-991CDDAE6C87}"/>
                </a:ext>
              </a:extLst>
            </p:cNvPr>
            <p:cNvPicPr>
              <a:picLocks noChangeAspect="1"/>
            </p:cNvPicPr>
            <p:nvPr/>
          </p:nvPicPr>
          <p:blipFill>
            <a:blip r:embed="rId3"/>
            <a:stretch>
              <a:fillRect/>
            </a:stretch>
          </p:blipFill>
          <p:spPr>
            <a:xfrm>
              <a:off x="10192337" y="10379626"/>
              <a:ext cx="1244599" cy="1244599"/>
            </a:xfrm>
            <a:prstGeom prst="rect">
              <a:avLst/>
            </a:prstGeom>
          </p:spPr>
        </p:pic>
        <p:pic>
          <p:nvPicPr>
            <p:cNvPr id="8" name="Picture 7">
              <a:extLst>
                <a:ext uri="{FF2B5EF4-FFF2-40B4-BE49-F238E27FC236}">
                  <a16:creationId xmlns:a16="http://schemas.microsoft.com/office/drawing/2014/main" xmlns="" id="{37695125-B951-9944-A711-6343EFEEB82A}"/>
                </a:ext>
              </a:extLst>
            </p:cNvPr>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10418391" y="10607553"/>
              <a:ext cx="792007" cy="792007"/>
            </a:xfrm>
            <a:prstGeom prst="rect">
              <a:avLst/>
            </a:prstGeom>
          </p:spPr>
        </p:pic>
        <p:pic>
          <p:nvPicPr>
            <p:cNvPr id="9" name="Picture 8">
              <a:extLst>
                <a:ext uri="{FF2B5EF4-FFF2-40B4-BE49-F238E27FC236}">
                  <a16:creationId xmlns:a16="http://schemas.microsoft.com/office/drawing/2014/main" xmlns="" id="{47225ABD-8A7C-544A-BCFA-711093309B6F}"/>
                </a:ext>
              </a:extLst>
            </p:cNvPr>
            <p:cNvPicPr>
              <a:picLocks noChangeAspect="1"/>
            </p:cNvPicPr>
            <p:nvPr/>
          </p:nvPicPr>
          <p:blipFill>
            <a:blip r:embed="rId3"/>
            <a:stretch>
              <a:fillRect/>
            </a:stretch>
          </p:blipFill>
          <p:spPr>
            <a:xfrm>
              <a:off x="11590483" y="10379626"/>
              <a:ext cx="1244599" cy="1244599"/>
            </a:xfrm>
            <a:prstGeom prst="rect">
              <a:avLst/>
            </a:prstGeom>
          </p:spPr>
        </p:pic>
        <p:pic>
          <p:nvPicPr>
            <p:cNvPr id="10" name="Picture 9">
              <a:extLst>
                <a:ext uri="{FF2B5EF4-FFF2-40B4-BE49-F238E27FC236}">
                  <a16:creationId xmlns:a16="http://schemas.microsoft.com/office/drawing/2014/main" xmlns="" id="{A9A3848C-36C3-6A4C-AB4D-3310B57A5AD8}"/>
                </a:ext>
              </a:extLst>
            </p:cNvPr>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11937417" y="10720593"/>
              <a:ext cx="552031" cy="552031"/>
            </a:xfrm>
            <a:prstGeom prst="rect">
              <a:avLst/>
            </a:prstGeom>
          </p:spPr>
        </p:pic>
        <p:pic>
          <p:nvPicPr>
            <p:cNvPr id="11" name="Picture 10">
              <a:extLst>
                <a:ext uri="{FF2B5EF4-FFF2-40B4-BE49-F238E27FC236}">
                  <a16:creationId xmlns:a16="http://schemas.microsoft.com/office/drawing/2014/main" xmlns="" id="{A118CC33-C8D7-5644-A4D5-63B08C6E5928}"/>
                </a:ext>
              </a:extLst>
            </p:cNvPr>
            <p:cNvPicPr>
              <a:picLocks noChangeAspect="1"/>
            </p:cNvPicPr>
            <p:nvPr/>
          </p:nvPicPr>
          <p:blipFill>
            <a:blip r:embed="rId3"/>
            <a:stretch>
              <a:fillRect/>
            </a:stretch>
          </p:blipFill>
          <p:spPr>
            <a:xfrm>
              <a:off x="12984568" y="10379626"/>
              <a:ext cx="1244599" cy="1244599"/>
            </a:xfrm>
            <a:prstGeom prst="rect">
              <a:avLst/>
            </a:prstGeom>
          </p:spPr>
        </p:pic>
        <p:pic>
          <p:nvPicPr>
            <p:cNvPr id="12" name="Picture 11">
              <a:extLst>
                <a:ext uri="{FF2B5EF4-FFF2-40B4-BE49-F238E27FC236}">
                  <a16:creationId xmlns:a16="http://schemas.microsoft.com/office/drawing/2014/main" xmlns="" id="{E32F237F-9CA7-E143-A85A-DCC222096215}"/>
                </a:ext>
              </a:extLst>
            </p:cNvPr>
            <p:cNvPicPr>
              <a:picLocks noChangeAspect="1"/>
            </p:cNvPicPr>
            <p:nvPr/>
          </p:nvPicPr>
          <p:blipFill>
            <a:blip r:embed="rId6" cstate="screen">
              <a:extLst>
                <a:ext uri="{28A0092B-C50C-407E-A947-70E740481C1C}">
                  <a14:useLocalDpi xmlns:a14="http://schemas.microsoft.com/office/drawing/2010/main" xmlns=""/>
                </a:ext>
              </a:extLst>
            </a:blip>
            <a:stretch>
              <a:fillRect/>
            </a:stretch>
          </p:blipFill>
          <p:spPr>
            <a:xfrm>
              <a:off x="13219491" y="10622676"/>
              <a:ext cx="776884" cy="776884"/>
            </a:xfrm>
            <a:prstGeom prst="rect">
              <a:avLst/>
            </a:prstGeom>
          </p:spPr>
        </p:pic>
      </p:grpSp>
      <p:sp>
        <p:nvSpPr>
          <p:cNvPr id="13" name="Content Placeholder 2">
            <a:extLst>
              <a:ext uri="{FF2B5EF4-FFF2-40B4-BE49-F238E27FC236}">
                <a16:creationId xmlns:a16="http://schemas.microsoft.com/office/drawing/2014/main" xmlns="" id="{B7E43229-C9C5-B845-A84A-783AC78905E9}"/>
              </a:ext>
            </a:extLst>
          </p:cNvPr>
          <p:cNvSpPr txBox="1">
            <a:spLocks/>
          </p:cNvSpPr>
          <p:nvPr/>
        </p:nvSpPr>
        <p:spPr>
          <a:xfrm>
            <a:off x="3923992" y="3934340"/>
            <a:ext cx="4245749" cy="107847"/>
          </a:xfrm>
          <a:prstGeom prst="rect">
            <a:avLst/>
          </a:prstGeom>
        </p:spPr>
        <p:txBody>
          <a:bodyPr>
            <a:noAutofit/>
          </a:bodyPr>
          <a:lstStyle>
            <a:lvl1pPr marL="457086" indent="-457086" algn="l" defTabSz="1828343" rtl="0" eaLnBrk="1" latinLnBrk="0" hangingPunct="1">
              <a:lnSpc>
                <a:spcPct val="90000"/>
              </a:lnSpc>
              <a:spcBef>
                <a:spcPts val="2000"/>
              </a:spcBef>
              <a:buFont typeface="Arial" panose="020B0604020202020204" pitchFamily="34" charset="0"/>
              <a:buChar char="•"/>
              <a:defRPr sz="5599" kern="1200">
                <a:solidFill>
                  <a:schemeClr val="tx1"/>
                </a:solidFill>
                <a:latin typeface="+mn-lt"/>
                <a:ea typeface="+mn-ea"/>
                <a:cs typeface="+mn-cs"/>
              </a:defRPr>
            </a:lvl1pPr>
            <a:lvl2pPr marL="1371257" indent="-457086" algn="l" defTabSz="1828343" rtl="0" eaLnBrk="1" latinLnBrk="0" hangingPunct="1">
              <a:lnSpc>
                <a:spcPct val="90000"/>
              </a:lnSpc>
              <a:spcBef>
                <a:spcPts val="1000"/>
              </a:spcBef>
              <a:buFont typeface="Arial" panose="020B0604020202020204" pitchFamily="34" charset="0"/>
              <a:buChar char="•"/>
              <a:defRPr sz="4799" kern="1200">
                <a:solidFill>
                  <a:schemeClr val="tx1"/>
                </a:solidFill>
                <a:latin typeface="+mn-lt"/>
                <a:ea typeface="+mn-ea"/>
                <a:cs typeface="+mn-cs"/>
              </a:defRPr>
            </a:lvl2pPr>
            <a:lvl3pPr marL="2285429" indent="-457086" algn="l" defTabSz="1828343" rtl="0" eaLnBrk="1" latinLnBrk="0" hangingPunct="1">
              <a:lnSpc>
                <a:spcPct val="90000"/>
              </a:lnSpc>
              <a:spcBef>
                <a:spcPts val="1000"/>
              </a:spcBef>
              <a:buFont typeface="Arial" panose="020B0604020202020204" pitchFamily="34" charset="0"/>
              <a:buChar char="•"/>
              <a:defRPr sz="3999" kern="1200">
                <a:solidFill>
                  <a:schemeClr val="tx1"/>
                </a:solidFill>
                <a:latin typeface="+mn-lt"/>
                <a:ea typeface="+mn-ea"/>
                <a:cs typeface="+mn-cs"/>
              </a:defRPr>
            </a:lvl3pPr>
            <a:lvl4pPr marL="3199600"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4pPr>
            <a:lvl5pPr marL="4113771"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a:lstStyle>
          <a:p>
            <a:pPr marL="0" lvl="0" indent="0" algn="ctr">
              <a:lnSpc>
                <a:spcPts val="5000"/>
              </a:lnSpc>
              <a:spcBef>
                <a:spcPts val="2800"/>
              </a:spcBef>
              <a:buNone/>
            </a:pPr>
            <a:r>
              <a:rPr lang="en-US" sz="3000" b="1" dirty="0">
                <a:solidFill>
                  <a:srgbClr val="002F6B"/>
                </a:solidFill>
                <a:latin typeface="Meiryo" panose="020B0604030504040204" pitchFamily="34" charset="-128"/>
                <a:ea typeface="Meiryo" panose="020B0604030504040204" pitchFamily="34" charset="-128"/>
                <a:cs typeface="Arial" panose="020B0604020202020204" pitchFamily="34" charset="0"/>
              </a:rPr>
              <a:t>@</a:t>
            </a:r>
            <a:r>
              <a:rPr lang="en-US" sz="3000" b="1" dirty="0" err="1">
                <a:solidFill>
                  <a:srgbClr val="002F6B"/>
                </a:solidFill>
                <a:latin typeface="Meiryo" panose="020B0604030504040204" pitchFamily="34" charset="-128"/>
                <a:ea typeface="Meiryo" panose="020B0604030504040204" pitchFamily="34" charset="-128"/>
                <a:cs typeface="Arial" panose="020B0604020202020204" pitchFamily="34" charset="0"/>
              </a:rPr>
              <a:t>MedProDental</a:t>
            </a:r>
            <a:endParaRPr lang="en-US" sz="3000" b="1" dirty="0">
              <a:solidFill>
                <a:srgbClr val="002F6B"/>
              </a:solidFill>
              <a:latin typeface="Meiryo" panose="020B0604030504040204" pitchFamily="34" charset="-128"/>
              <a:ea typeface="Meiryo" panose="020B0604030504040204" pitchFamily="34" charset="-128"/>
              <a:cs typeface="Arial" panose="020B0604020202020204" pitchFamily="34" charset="0"/>
            </a:endParaRPr>
          </a:p>
        </p:txBody>
      </p:sp>
      <p:sp>
        <p:nvSpPr>
          <p:cNvPr id="14" name="Rectangle 13"/>
          <p:cNvSpPr/>
          <p:nvPr/>
        </p:nvSpPr>
        <p:spPr>
          <a:xfrm>
            <a:off x="192835" y="5105845"/>
            <a:ext cx="11708063" cy="1200329"/>
          </a:xfrm>
          <a:prstGeom prst="rect">
            <a:avLst/>
          </a:prstGeom>
        </p:spPr>
        <p:txBody>
          <a:bodyPr wrap="square">
            <a:spAutoFit/>
          </a:bodyPr>
          <a:lstStyle/>
          <a:p>
            <a:pPr algn="ctr"/>
            <a:r>
              <a:rPr lang="en-US" altLang="en-US" sz="2400" dirty="0">
                <a:solidFill>
                  <a:srgbClr val="002A88"/>
                </a:solidFill>
                <a:ea typeface="Trebuchet MS" panose="020B0703020202090204" pitchFamily="34" charset="0"/>
                <a:cs typeface="Trebuchet MS" panose="020B0703020202090204" pitchFamily="34" charset="0"/>
                <a:hlinkClick r:id="rId7"/>
              </a:rPr>
              <a:t>dental@medpro.com</a:t>
            </a:r>
            <a:r>
              <a:rPr lang="en-US" altLang="en-US" sz="2400" dirty="0">
                <a:solidFill>
                  <a:srgbClr val="002A88"/>
                </a:solidFill>
                <a:ea typeface="Trebuchet MS" panose="020B0703020202090204" pitchFamily="34" charset="0"/>
                <a:cs typeface="Trebuchet MS" panose="020B0703020202090204" pitchFamily="34" charset="0"/>
              </a:rPr>
              <a:t>	|	800.4MEDPRO	|	medpro.com/dentists</a:t>
            </a:r>
          </a:p>
          <a:p>
            <a:pPr algn="ctr"/>
            <a:endParaRPr lang="en-US" altLang="en-US" sz="2400" dirty="0">
              <a:solidFill>
                <a:srgbClr val="002A88"/>
              </a:solidFill>
              <a:ea typeface="Trebuchet MS" panose="020B0703020202090204" pitchFamily="34" charset="0"/>
              <a:cs typeface="Trebuchet MS" panose="020B0703020202090204" pitchFamily="34" charset="0"/>
            </a:endParaRPr>
          </a:p>
          <a:p>
            <a:pPr algn="ctr"/>
            <a:r>
              <a:rPr lang="en-US" altLang="en-US" sz="2400" dirty="0" smtClean="0">
                <a:solidFill>
                  <a:srgbClr val="002A88"/>
                </a:solidFill>
                <a:ea typeface="Trebuchet MS" panose="020B0703020202090204" pitchFamily="34" charset="0"/>
                <a:cs typeface="Trebuchet MS" panose="020B0703020202090204" pitchFamily="34" charset="0"/>
              </a:rPr>
              <a:t>Jacqueline Clarke, </a:t>
            </a:r>
            <a:r>
              <a:rPr lang="en-US" altLang="en-US" sz="2400" dirty="0">
                <a:solidFill>
                  <a:srgbClr val="002A88"/>
                </a:solidFill>
                <a:ea typeface="Trebuchet MS" panose="020B0703020202090204" pitchFamily="34" charset="0"/>
                <a:cs typeface="Trebuchet MS" panose="020B0703020202090204" pitchFamily="34" charset="0"/>
              </a:rPr>
              <a:t>Esq.    </a:t>
            </a:r>
            <a:r>
              <a:rPr lang="en-US" altLang="en-US" sz="2400" dirty="0" smtClean="0">
                <a:solidFill>
                  <a:srgbClr val="002A88"/>
                </a:solidFill>
                <a:ea typeface="Trebuchet MS" panose="020B0703020202090204" pitchFamily="34" charset="0"/>
                <a:cs typeface="Trebuchet MS" panose="020B0703020202090204" pitchFamily="34" charset="0"/>
              </a:rPr>
              <a:t>248-216-0644   Jacqueline.Clarke@medpro.com</a:t>
            </a:r>
            <a:endParaRPr lang="en-US" altLang="en-US" sz="2400" dirty="0">
              <a:solidFill>
                <a:srgbClr val="002A88"/>
              </a:solidFill>
              <a:ea typeface="Trebuchet MS" panose="020B0703020202090204" pitchFamily="34" charset="0"/>
              <a:cs typeface="Trebuchet MS" panose="020B0703020202090204" pitchFamily="34" charset="0"/>
            </a:endParaRPr>
          </a:p>
        </p:txBody>
      </p:sp>
    </p:spTree>
    <p:extLst>
      <p:ext uri="{BB962C8B-B14F-4D97-AF65-F5344CB8AC3E}">
        <p14:creationId xmlns:p14="http://schemas.microsoft.com/office/powerpoint/2010/main" xmlns="" val="13538714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2"/>
          <p:cNvSpPr>
            <a:spLocks noGrp="1"/>
          </p:cNvSpPr>
          <p:nvPr>
            <p:ph type="title"/>
          </p:nvPr>
        </p:nvSpPr>
        <p:spPr>
          <a:xfrm>
            <a:off x="414731" y="257328"/>
            <a:ext cx="11058132" cy="709743"/>
          </a:xfrm>
        </p:spPr>
        <p:txBody>
          <a:bodyPr/>
          <a:lstStyle/>
          <a:p>
            <a:r>
              <a:rPr lang="en-US" dirty="0" err="1">
                <a:solidFill>
                  <a:srgbClr val="002F6B"/>
                </a:solidFill>
                <a:latin typeface="Meiryo" panose="020B0604030504040204" pitchFamily="34" charset="-128"/>
                <a:ea typeface="Meiryo" panose="020B0604030504040204" pitchFamily="34" charset="-128"/>
                <a:cs typeface="Meiryo" panose="020B0604030504040204" pitchFamily="34" charset="-128"/>
              </a:rPr>
              <a:t>MedPro</a:t>
            </a:r>
            <a:r>
              <a:rPr lang="en-US" dirty="0">
                <a:solidFill>
                  <a:srgbClr val="002F6B"/>
                </a:solidFill>
                <a:latin typeface="Meiryo" panose="020B0604030504040204" pitchFamily="34" charset="-128"/>
                <a:ea typeface="Meiryo" panose="020B0604030504040204" pitchFamily="34" charset="-128"/>
                <a:cs typeface="Meiryo" panose="020B0604030504040204" pitchFamily="34" charset="-128"/>
              </a:rPr>
              <a:t> Dental Highlights</a:t>
            </a:r>
            <a:endParaRPr lang="en-US" altLang="en-US" dirty="0"/>
          </a:p>
        </p:txBody>
      </p:sp>
      <p:sp>
        <p:nvSpPr>
          <p:cNvPr id="4" name="Content Placeholder 3"/>
          <p:cNvSpPr>
            <a:spLocks noGrp="1"/>
          </p:cNvSpPr>
          <p:nvPr>
            <p:ph idx="4294967295"/>
          </p:nvPr>
        </p:nvSpPr>
        <p:spPr>
          <a:xfrm>
            <a:off x="414731" y="967071"/>
            <a:ext cx="10850563" cy="4625975"/>
          </a:xfrm>
        </p:spPr>
        <p:txBody>
          <a:bodyPr>
            <a:noAutofit/>
          </a:bodyPr>
          <a:lstStyle/>
          <a:p>
            <a:pPr>
              <a:lnSpc>
                <a:spcPct val="107000"/>
              </a:lnSpc>
            </a:pPr>
            <a:r>
              <a:rPr lang="en-US" altLang="en-US" sz="2200" dirty="0" smtClean="0">
                <a:solidFill>
                  <a:srgbClr val="002F6B"/>
                </a:solidFill>
                <a:ea typeface="Trebuchet MS" panose="020B0603020202020204" pitchFamily="34" charset="0"/>
                <a:cs typeface="Trebuchet MS" panose="020B0603020202020204" pitchFamily="34" charset="0"/>
              </a:rPr>
              <a:t>Largest </a:t>
            </a:r>
            <a:r>
              <a:rPr lang="en-US" altLang="en-US" sz="2200" dirty="0">
                <a:solidFill>
                  <a:srgbClr val="002F6B"/>
                </a:solidFill>
                <a:ea typeface="Trebuchet MS" panose="020B0603020202020204" pitchFamily="34" charset="0"/>
                <a:cs typeface="Trebuchet MS" panose="020B0603020202020204" pitchFamily="34" charset="0"/>
              </a:rPr>
              <a:t>Dental Malpractice Insurer </a:t>
            </a:r>
            <a:endParaRPr lang="en-US" altLang="en-US" sz="2200" dirty="0" smtClean="0">
              <a:solidFill>
                <a:srgbClr val="002F6B"/>
              </a:solidFill>
              <a:ea typeface="Trebuchet MS" panose="020B0603020202020204" pitchFamily="34" charset="0"/>
              <a:cs typeface="Trebuchet MS" panose="020B0603020202020204" pitchFamily="34" charset="0"/>
            </a:endParaRPr>
          </a:p>
          <a:p>
            <a:pPr marL="0" indent="0">
              <a:lnSpc>
                <a:spcPct val="107000"/>
              </a:lnSpc>
              <a:buNone/>
            </a:pPr>
            <a:r>
              <a:rPr lang="en-US" altLang="en-US" dirty="0">
                <a:solidFill>
                  <a:srgbClr val="002F6B"/>
                </a:solidFill>
                <a:ea typeface="Trebuchet MS" panose="020B0603020202020204" pitchFamily="34" charset="0"/>
                <a:cs typeface="Trebuchet MS" panose="020B0603020202020204" pitchFamily="34" charset="0"/>
              </a:rPr>
              <a:t>	</a:t>
            </a:r>
            <a:r>
              <a:rPr lang="en-US" altLang="en-US" dirty="0" smtClean="0">
                <a:solidFill>
                  <a:srgbClr val="002F6B"/>
                </a:solidFill>
                <a:ea typeface="Trebuchet MS" panose="020B0603020202020204" pitchFamily="34" charset="0"/>
                <a:cs typeface="Trebuchet MS" panose="020B0603020202020204" pitchFamily="34" charset="0"/>
              </a:rPr>
              <a:t>#</a:t>
            </a:r>
            <a:r>
              <a:rPr lang="en-US" altLang="en-US" dirty="0">
                <a:solidFill>
                  <a:srgbClr val="002F6B"/>
                </a:solidFill>
                <a:ea typeface="Trebuchet MS" panose="020B0603020202020204" pitchFamily="34" charset="0"/>
                <a:cs typeface="Trebuchet MS" panose="020B0603020202020204" pitchFamily="34" charset="0"/>
              </a:rPr>
              <a:t>1 National Market Share </a:t>
            </a:r>
            <a:endParaRPr lang="en-US" altLang="en-US" dirty="0" smtClean="0">
              <a:solidFill>
                <a:srgbClr val="002F6B"/>
              </a:solidFill>
              <a:ea typeface="Trebuchet MS" panose="020B0603020202020204" pitchFamily="34" charset="0"/>
              <a:cs typeface="Trebuchet MS" panose="020B0603020202020204" pitchFamily="34" charset="0"/>
            </a:endParaRPr>
          </a:p>
          <a:p>
            <a:pPr marL="0" indent="0">
              <a:lnSpc>
                <a:spcPct val="107000"/>
              </a:lnSpc>
              <a:buNone/>
            </a:pPr>
            <a:r>
              <a:rPr lang="en-US" altLang="en-US" dirty="0">
                <a:solidFill>
                  <a:srgbClr val="002F6B"/>
                </a:solidFill>
                <a:ea typeface="Trebuchet MS" panose="020B0603020202020204" pitchFamily="34" charset="0"/>
                <a:cs typeface="Trebuchet MS" panose="020B0603020202020204" pitchFamily="34" charset="0"/>
              </a:rPr>
              <a:t>	</a:t>
            </a:r>
            <a:r>
              <a:rPr lang="en-US" altLang="en-US" dirty="0" smtClean="0">
                <a:solidFill>
                  <a:srgbClr val="002F6B"/>
                </a:solidFill>
                <a:ea typeface="Trebuchet MS" panose="020B0603020202020204" pitchFamily="34" charset="0"/>
                <a:cs typeface="Trebuchet MS" panose="020B0603020202020204" pitchFamily="34" charset="0"/>
              </a:rPr>
              <a:t>~</a:t>
            </a:r>
            <a:r>
              <a:rPr lang="en-US" altLang="en-US" dirty="0">
                <a:solidFill>
                  <a:srgbClr val="002F6B"/>
                </a:solidFill>
                <a:ea typeface="Trebuchet MS" panose="020B0603020202020204" pitchFamily="34" charset="0"/>
                <a:cs typeface="Trebuchet MS" panose="020B0603020202020204" pitchFamily="34" charset="0"/>
              </a:rPr>
              <a:t>48K Dentists and </a:t>
            </a:r>
            <a:r>
              <a:rPr lang="en-US" altLang="en-US" dirty="0" smtClean="0">
                <a:solidFill>
                  <a:srgbClr val="002F6B"/>
                </a:solidFill>
                <a:ea typeface="Trebuchet MS" panose="020B0603020202020204" pitchFamily="34" charset="0"/>
                <a:cs typeface="Trebuchet MS" panose="020B0603020202020204" pitchFamily="34" charset="0"/>
              </a:rPr>
              <a:t>Specialists</a:t>
            </a:r>
            <a:endParaRPr lang="en-US" altLang="en-US" dirty="0">
              <a:solidFill>
                <a:srgbClr val="002F6B"/>
              </a:solidFill>
              <a:ea typeface="Trebuchet MS" panose="020B0603020202020204" pitchFamily="34" charset="0"/>
              <a:cs typeface="Trebuchet MS" panose="020B0603020202020204" pitchFamily="34" charset="0"/>
            </a:endParaRPr>
          </a:p>
          <a:p>
            <a:pPr>
              <a:lnSpc>
                <a:spcPct val="107000"/>
              </a:lnSpc>
            </a:pPr>
            <a:r>
              <a:rPr lang="en-US" altLang="en-US" sz="2200" dirty="0">
                <a:solidFill>
                  <a:srgbClr val="002F6B"/>
                </a:solidFill>
                <a:ea typeface="Trebuchet MS" panose="020B0603020202020204" pitchFamily="34" charset="0"/>
                <a:cs typeface="Trebuchet MS" panose="020B0603020202020204" pitchFamily="34" charset="0"/>
              </a:rPr>
              <a:t>Owned by Berkshire </a:t>
            </a:r>
            <a:r>
              <a:rPr lang="en-US" altLang="en-US" sz="2200" dirty="0" smtClean="0">
                <a:solidFill>
                  <a:srgbClr val="002F6B"/>
                </a:solidFill>
                <a:ea typeface="Trebuchet MS" panose="020B0603020202020204" pitchFamily="34" charset="0"/>
                <a:cs typeface="Trebuchet MS" panose="020B0603020202020204" pitchFamily="34" charset="0"/>
              </a:rPr>
              <a:t>Hathaway</a:t>
            </a:r>
          </a:p>
          <a:p>
            <a:pPr>
              <a:lnSpc>
                <a:spcPct val="107000"/>
              </a:lnSpc>
            </a:pPr>
            <a:r>
              <a:rPr lang="en-US" altLang="en-US" sz="2200" dirty="0" smtClean="0">
                <a:solidFill>
                  <a:srgbClr val="002F6B"/>
                </a:solidFill>
                <a:ea typeface="Trebuchet MS" panose="020B0603020202020204" pitchFamily="34" charset="0"/>
                <a:cs typeface="Trebuchet MS" panose="020B0603020202020204" pitchFamily="34" charset="0"/>
              </a:rPr>
              <a:t>A</a:t>
            </a:r>
            <a:r>
              <a:rPr lang="en-US" altLang="en-US" sz="2200" dirty="0">
                <a:solidFill>
                  <a:srgbClr val="002F6B"/>
                </a:solidFill>
                <a:ea typeface="Trebuchet MS" panose="020B0603020202020204" pitchFamily="34" charset="0"/>
                <a:cs typeface="Trebuchet MS" panose="020B0603020202020204" pitchFamily="34" charset="0"/>
              </a:rPr>
              <a:t>++ Highest Financial Ratings in </a:t>
            </a:r>
            <a:r>
              <a:rPr lang="en-US" altLang="en-US" sz="2200" dirty="0" smtClean="0">
                <a:solidFill>
                  <a:srgbClr val="002F6B"/>
                </a:solidFill>
                <a:ea typeface="Trebuchet MS" panose="020B0603020202020204" pitchFamily="34" charset="0"/>
                <a:cs typeface="Trebuchet MS" panose="020B0603020202020204" pitchFamily="34" charset="0"/>
              </a:rPr>
              <a:t>Industry</a:t>
            </a:r>
          </a:p>
          <a:p>
            <a:pPr>
              <a:lnSpc>
                <a:spcPct val="107000"/>
              </a:lnSpc>
            </a:pPr>
            <a:r>
              <a:rPr lang="en-US" altLang="en-US" sz="2200" dirty="0" smtClean="0">
                <a:solidFill>
                  <a:srgbClr val="002F6B"/>
                </a:solidFill>
                <a:ea typeface="Trebuchet MS" panose="020B0603020202020204" pitchFamily="34" charset="0"/>
                <a:cs typeface="Trebuchet MS" panose="020B0603020202020204" pitchFamily="34" charset="0"/>
              </a:rPr>
              <a:t>Protecting </a:t>
            </a:r>
            <a:r>
              <a:rPr lang="en-US" altLang="en-US" sz="2200" dirty="0">
                <a:solidFill>
                  <a:srgbClr val="002F6B"/>
                </a:solidFill>
                <a:ea typeface="Trebuchet MS" panose="020B0603020202020204" pitchFamily="34" charset="0"/>
                <a:cs typeface="Trebuchet MS" panose="020B0603020202020204" pitchFamily="34" charset="0"/>
              </a:rPr>
              <a:t>Dentists for over a </a:t>
            </a:r>
            <a:r>
              <a:rPr lang="en-US" altLang="en-US" sz="2200" dirty="0" smtClean="0">
                <a:solidFill>
                  <a:srgbClr val="002F6B"/>
                </a:solidFill>
                <a:ea typeface="Trebuchet MS" panose="020B0603020202020204" pitchFamily="34" charset="0"/>
                <a:cs typeface="Trebuchet MS" panose="020B0603020202020204" pitchFamily="34" charset="0"/>
              </a:rPr>
              <a:t>Century</a:t>
            </a:r>
          </a:p>
          <a:p>
            <a:pPr>
              <a:lnSpc>
                <a:spcPct val="107000"/>
              </a:lnSpc>
            </a:pPr>
            <a:r>
              <a:rPr lang="en-US" altLang="en-US" sz="2200" dirty="0" smtClean="0">
                <a:solidFill>
                  <a:srgbClr val="002F6B"/>
                </a:solidFill>
                <a:ea typeface="Trebuchet MS" panose="020B0603020202020204" pitchFamily="34" charset="0"/>
                <a:cs typeface="Trebuchet MS" panose="020B0603020202020204" pitchFamily="34" charset="0"/>
              </a:rPr>
              <a:t>Leading </a:t>
            </a:r>
            <a:r>
              <a:rPr lang="en-US" altLang="en-US" sz="2200" dirty="0">
                <a:solidFill>
                  <a:srgbClr val="002F6B"/>
                </a:solidFill>
                <a:ea typeface="Trebuchet MS" panose="020B0603020202020204" pitchFamily="34" charset="0"/>
                <a:cs typeface="Trebuchet MS" panose="020B0603020202020204" pitchFamily="34" charset="0"/>
              </a:rPr>
              <a:t>Dental Claims Results </a:t>
            </a:r>
            <a:endParaRPr lang="en-US" altLang="en-US" sz="2200" dirty="0" smtClean="0">
              <a:solidFill>
                <a:srgbClr val="002F6B"/>
              </a:solidFill>
              <a:ea typeface="Trebuchet MS" panose="020B0603020202020204" pitchFamily="34" charset="0"/>
              <a:cs typeface="Trebuchet MS" panose="020B0603020202020204" pitchFamily="34" charset="0"/>
            </a:endParaRPr>
          </a:p>
          <a:p>
            <a:pPr marL="0" indent="0">
              <a:lnSpc>
                <a:spcPct val="107000"/>
              </a:lnSpc>
              <a:buNone/>
            </a:pPr>
            <a:r>
              <a:rPr lang="en-US" altLang="en-US" dirty="0" smtClean="0">
                <a:solidFill>
                  <a:srgbClr val="002F6B"/>
                </a:solidFill>
                <a:ea typeface="Trebuchet MS" panose="020B0603020202020204" pitchFamily="34" charset="0"/>
                <a:cs typeface="Trebuchet MS" panose="020B0603020202020204" pitchFamily="34" charset="0"/>
              </a:rPr>
              <a:t>	95</a:t>
            </a:r>
            <a:r>
              <a:rPr lang="en-US" altLang="en-US" dirty="0">
                <a:solidFill>
                  <a:srgbClr val="002F6B"/>
                </a:solidFill>
                <a:ea typeface="Trebuchet MS" panose="020B0603020202020204" pitchFamily="34" charset="0"/>
                <a:cs typeface="Trebuchet MS" panose="020B0603020202020204" pitchFamily="34" charset="0"/>
              </a:rPr>
              <a:t>% Trial Win Rate </a:t>
            </a:r>
          </a:p>
          <a:p>
            <a:pPr marL="0" indent="0">
              <a:lnSpc>
                <a:spcPct val="107000"/>
              </a:lnSpc>
              <a:buNone/>
            </a:pPr>
            <a:r>
              <a:rPr lang="en-US" altLang="en-US" dirty="0">
                <a:solidFill>
                  <a:srgbClr val="002F6B"/>
                </a:solidFill>
                <a:ea typeface="Trebuchet MS" panose="020B0603020202020204" pitchFamily="34" charset="0"/>
                <a:cs typeface="Trebuchet MS" panose="020B0603020202020204" pitchFamily="34" charset="0"/>
              </a:rPr>
              <a:t>	82% Closed w/o </a:t>
            </a:r>
            <a:r>
              <a:rPr lang="en-US" altLang="en-US" dirty="0" smtClean="0">
                <a:solidFill>
                  <a:srgbClr val="002F6B"/>
                </a:solidFill>
                <a:ea typeface="Trebuchet MS" panose="020B0603020202020204" pitchFamily="34" charset="0"/>
                <a:cs typeface="Trebuchet MS" panose="020B0603020202020204" pitchFamily="34" charset="0"/>
              </a:rPr>
              <a:t>Pay</a:t>
            </a:r>
          </a:p>
          <a:p>
            <a:pPr>
              <a:lnSpc>
                <a:spcPct val="107000"/>
              </a:lnSpc>
            </a:pPr>
            <a:r>
              <a:rPr lang="en-US" altLang="en-US" sz="2200" dirty="0" smtClean="0">
                <a:solidFill>
                  <a:srgbClr val="002F6B"/>
                </a:solidFill>
                <a:ea typeface="Trebuchet MS" panose="020B0603020202020204" pitchFamily="34" charset="0"/>
                <a:cs typeface="Trebuchet MS" panose="020B0603020202020204" pitchFamily="34" charset="0"/>
              </a:rPr>
              <a:t>Robust Policy </a:t>
            </a:r>
            <a:endParaRPr lang="en-US" altLang="en-US" sz="2200" dirty="0">
              <a:solidFill>
                <a:srgbClr val="002F6B"/>
              </a:solidFill>
              <a:ea typeface="Trebuchet MS" panose="020B0603020202020204" pitchFamily="34" charset="0"/>
              <a:cs typeface="Trebuchet MS" panose="020B0603020202020204" pitchFamily="34" charset="0"/>
            </a:endParaRPr>
          </a:p>
          <a:p>
            <a:pPr marL="0" indent="0">
              <a:lnSpc>
                <a:spcPct val="107000"/>
              </a:lnSpc>
              <a:buNone/>
            </a:pPr>
            <a:r>
              <a:rPr lang="en-US" altLang="en-US" dirty="0">
                <a:solidFill>
                  <a:srgbClr val="002F6B"/>
                </a:solidFill>
                <a:ea typeface="Trebuchet MS" panose="020B0603020202020204" pitchFamily="34" charset="0"/>
                <a:cs typeface="Trebuchet MS" panose="020B0603020202020204" pitchFamily="34" charset="0"/>
              </a:rPr>
              <a:t>	</a:t>
            </a:r>
            <a:r>
              <a:rPr lang="en-US" altLang="en-US" dirty="0" smtClean="0">
                <a:solidFill>
                  <a:srgbClr val="002F6B"/>
                </a:solidFill>
                <a:ea typeface="Trebuchet MS" panose="020B0603020202020204" pitchFamily="34" charset="0"/>
                <a:cs typeface="Trebuchet MS" panose="020B0603020202020204" pitchFamily="34" charset="0"/>
              </a:rPr>
              <a:t>Pure </a:t>
            </a:r>
            <a:r>
              <a:rPr lang="en-US" altLang="en-US" dirty="0">
                <a:solidFill>
                  <a:srgbClr val="002F6B"/>
                </a:solidFill>
                <a:ea typeface="Trebuchet MS" panose="020B0603020202020204" pitchFamily="34" charset="0"/>
                <a:cs typeface="Trebuchet MS" panose="020B0603020202020204" pitchFamily="34" charset="0"/>
              </a:rPr>
              <a:t>Consent to </a:t>
            </a:r>
            <a:r>
              <a:rPr lang="en-US" altLang="en-US" dirty="0" smtClean="0">
                <a:solidFill>
                  <a:srgbClr val="002F6B"/>
                </a:solidFill>
                <a:ea typeface="Trebuchet MS" panose="020B0603020202020204" pitchFamily="34" charset="0"/>
                <a:cs typeface="Trebuchet MS" panose="020B0603020202020204" pitchFamily="34" charset="0"/>
              </a:rPr>
              <a:t>Settle</a:t>
            </a:r>
          </a:p>
          <a:p>
            <a:pPr marL="0" indent="0">
              <a:lnSpc>
                <a:spcPct val="107000"/>
              </a:lnSpc>
              <a:buNone/>
            </a:pPr>
            <a:r>
              <a:rPr lang="en-US" altLang="en-US" dirty="0">
                <a:solidFill>
                  <a:srgbClr val="002F6B"/>
                </a:solidFill>
                <a:ea typeface="Trebuchet MS" panose="020B0603020202020204" pitchFamily="34" charset="0"/>
                <a:cs typeface="Trebuchet MS" panose="020B0603020202020204" pitchFamily="34" charset="0"/>
              </a:rPr>
              <a:t>	</a:t>
            </a:r>
            <a:r>
              <a:rPr lang="en-US" altLang="en-US" dirty="0" smtClean="0">
                <a:solidFill>
                  <a:srgbClr val="002F6B"/>
                </a:solidFill>
                <a:ea typeface="Trebuchet MS" panose="020B0603020202020204" pitchFamily="34" charset="0"/>
                <a:cs typeface="Trebuchet MS" panose="020B0603020202020204" pitchFamily="34" charset="0"/>
              </a:rPr>
              <a:t>Occurrence</a:t>
            </a:r>
            <a:endParaRPr lang="en-US" altLang="en-US" dirty="0">
              <a:solidFill>
                <a:srgbClr val="002F6B"/>
              </a:solidFill>
              <a:ea typeface="Trebuchet MS" panose="020B0603020202020204" pitchFamily="34" charset="0"/>
              <a:cs typeface="Trebuchet MS" panose="020B0603020202020204" pitchFamily="34" charset="0"/>
            </a:endParaRPr>
          </a:p>
        </p:txBody>
      </p:sp>
      <p:sp>
        <p:nvSpPr>
          <p:cNvPr id="2" name="Slide Number Placeholder 1"/>
          <p:cNvSpPr>
            <a:spLocks noGrp="1"/>
          </p:cNvSpPr>
          <p:nvPr>
            <p:ph type="sldNum" sz="quarter" idx="12"/>
          </p:nvPr>
        </p:nvSpPr>
        <p:spPr/>
        <p:txBody>
          <a:bodyPr/>
          <a:lstStyle/>
          <a:p>
            <a:fld id="{DA135043-C596-1A48-8BDA-03EB29A64DF4}" type="slidenum">
              <a:rPr lang="en-US" smtClean="0"/>
              <a:pPr/>
              <a:t>5</a:t>
            </a:fld>
            <a:endParaRPr lang="en-US" dirty="0"/>
          </a:p>
        </p:txBody>
      </p:sp>
      <p:pic>
        <p:nvPicPr>
          <p:cNvPr id="5" name="Content Placeholder 4">
            <a:extLst>
              <a:ext uri="{FF2B5EF4-FFF2-40B4-BE49-F238E27FC236}">
                <a16:creationId xmlns:a16="http://schemas.microsoft.com/office/drawing/2014/main" xmlns="" id="{89FB1DCA-1A22-7343-B8D2-1F2C4C038CB7}"/>
              </a:ext>
            </a:extLst>
          </p:cNvPr>
          <p:cNvPicPr>
            <a:picLocks noChangeAspect="1"/>
          </p:cNvPicPr>
          <p:nvPr/>
        </p:nvPicPr>
        <p:blipFill>
          <a:blip r:embed="rId4"/>
          <a:stretch>
            <a:fillRect/>
          </a:stretch>
        </p:blipFill>
        <p:spPr>
          <a:xfrm>
            <a:off x="8176101" y="1435798"/>
            <a:ext cx="2555052" cy="2555052"/>
          </a:xfrm>
          <a:prstGeom prst="rect">
            <a:avLst/>
          </a:prstGeom>
        </p:spPr>
      </p:pic>
    </p:spTree>
    <p:custDataLst>
      <p:tags r:id="rId1"/>
    </p:custDataLst>
    <p:extLst>
      <p:ext uri="{BB962C8B-B14F-4D97-AF65-F5344CB8AC3E}">
        <p14:creationId xmlns:p14="http://schemas.microsoft.com/office/powerpoint/2010/main" xmlns="" val="384965295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361095"/>
            <a:ext cx="11058132" cy="709743"/>
          </a:xfrm>
        </p:spPr>
        <p:txBody>
          <a:bodyPr/>
          <a:lstStyle/>
          <a:p>
            <a:r>
              <a:rPr lang="en-US" dirty="0"/>
              <a:t>Objectives</a:t>
            </a:r>
          </a:p>
        </p:txBody>
      </p:sp>
      <p:graphicFrame>
        <p:nvGraphicFramePr>
          <p:cNvPr id="3" name="Diagram 2"/>
          <p:cNvGraphicFramePr/>
          <p:nvPr>
            <p:extLst>
              <p:ext uri="{D42A27DB-BD31-4B8C-83A1-F6EECF244321}">
                <p14:modId xmlns:p14="http://schemas.microsoft.com/office/powerpoint/2010/main" xmlns="" val="3737429709"/>
              </p:ext>
            </p:extLst>
          </p:nvPr>
        </p:nvGraphicFramePr>
        <p:xfrm>
          <a:off x="414731" y="1124114"/>
          <a:ext cx="11337491" cy="56634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Check Mark in Circle_Cloud Blue"/>
          <p:cNvPicPr>
            <a:picLocks noChangeAspect="1"/>
          </p:cNvPicPr>
          <p:nvPr>
            <p:custDataLst>
              <p:tags r:id="rId2"/>
            </p:custDataLst>
          </p:nvPr>
        </p:nvPicPr>
        <p:blipFill rotWithShape="1">
          <a:blip r:embed="rId10"/>
          <a:srcRect l="53658" t="49361" r="4932" b="12946"/>
          <a:stretch/>
        </p:blipFill>
        <p:spPr>
          <a:xfrm>
            <a:off x="9998766" y="167945"/>
            <a:ext cx="2042438" cy="1859062"/>
          </a:xfrm>
          <a:prstGeom prst="rect">
            <a:avLst/>
          </a:prstGeom>
        </p:spPr>
      </p:pic>
      <p:sp>
        <p:nvSpPr>
          <p:cNvPr id="4" name="Slide Number Placeholder 3"/>
          <p:cNvSpPr>
            <a:spLocks noGrp="1"/>
          </p:cNvSpPr>
          <p:nvPr>
            <p:ph type="sldNum" sz="quarter" idx="12"/>
          </p:nvPr>
        </p:nvSpPr>
        <p:spPr/>
        <p:txBody>
          <a:bodyPr/>
          <a:lstStyle/>
          <a:p>
            <a:fld id="{DA135043-C596-1A48-8BDA-03EB29A64DF4}" type="slidenum">
              <a:rPr lang="en-US" smtClean="0"/>
              <a:pPr/>
              <a:t>6</a:t>
            </a:fld>
            <a:endParaRPr lang="en-US" dirty="0"/>
          </a:p>
        </p:txBody>
      </p:sp>
    </p:spTree>
    <p:custDataLst>
      <p:tags r:id="rId1"/>
    </p:custDataLst>
    <p:extLst>
      <p:ext uri="{BB962C8B-B14F-4D97-AF65-F5344CB8AC3E}">
        <p14:creationId xmlns:p14="http://schemas.microsoft.com/office/powerpoint/2010/main" xmlns="" val="53396608"/>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day's Malpractice Environment </a:t>
            </a:r>
            <a:endParaRPr lang="en-US" dirty="0"/>
          </a:p>
        </p:txBody>
      </p:sp>
    </p:spTree>
    <p:custDataLst>
      <p:tags r:id="rId1"/>
    </p:custDataLst>
    <p:extLst>
      <p:ext uri="{BB962C8B-B14F-4D97-AF65-F5344CB8AC3E}">
        <p14:creationId xmlns:p14="http://schemas.microsoft.com/office/powerpoint/2010/main" xmlns="" val="3225680575"/>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A135043-C596-1A48-8BDA-03EB29A64DF4}" type="slidenum">
              <a:rPr lang="en-US" smtClean="0"/>
              <a:pPr/>
              <a:t>8</a:t>
            </a:fld>
            <a:endParaRPr lang="en-US" dirty="0"/>
          </a:p>
        </p:txBody>
      </p:sp>
      <p:sp>
        <p:nvSpPr>
          <p:cNvPr id="3" name="Rectangle 2"/>
          <p:cNvSpPr/>
          <p:nvPr/>
        </p:nvSpPr>
        <p:spPr>
          <a:xfrm>
            <a:off x="304799" y="1043515"/>
            <a:ext cx="7990901" cy="4339650"/>
          </a:xfrm>
          <a:prstGeom prst="rect">
            <a:avLst/>
          </a:prstGeom>
        </p:spPr>
        <p:txBody>
          <a:bodyPr wrap="square">
            <a:spAutoFit/>
          </a:bodyPr>
          <a:lstStyle/>
          <a:p>
            <a:pPr marL="342900" indent="-342900" algn="just">
              <a:spcAft>
                <a:spcPts val="1200"/>
              </a:spcAft>
              <a:buFont typeface="Arial" panose="020B0604020202020204" pitchFamily="34" charset="0"/>
              <a:buChar char="•"/>
            </a:pPr>
            <a:r>
              <a:rPr lang="en-US" sz="2400" dirty="0">
                <a:solidFill>
                  <a:schemeClr val="accent1"/>
                </a:solidFill>
              </a:rPr>
              <a:t>Dental claims </a:t>
            </a:r>
            <a:r>
              <a:rPr lang="en-US" sz="2400" b="1" u="sng" dirty="0">
                <a:solidFill>
                  <a:schemeClr val="accent1"/>
                </a:solidFill>
              </a:rPr>
              <a:t>frequency</a:t>
            </a:r>
            <a:r>
              <a:rPr lang="en-US" sz="2400" dirty="0">
                <a:solidFill>
                  <a:schemeClr val="accent1"/>
                </a:solidFill>
              </a:rPr>
              <a:t> is rising after a decade of steady decrease.</a:t>
            </a:r>
          </a:p>
          <a:p>
            <a:pPr marL="342900" indent="-342900" algn="just">
              <a:spcAft>
                <a:spcPts val="1200"/>
              </a:spcAft>
              <a:buFont typeface="Arial" panose="020B0604020202020204" pitchFamily="34" charset="0"/>
              <a:buChar char="•"/>
            </a:pPr>
            <a:r>
              <a:rPr lang="en-US" sz="2400" dirty="0">
                <a:solidFill>
                  <a:schemeClr val="accent1"/>
                </a:solidFill>
              </a:rPr>
              <a:t>Dental claims </a:t>
            </a:r>
            <a:r>
              <a:rPr lang="en-US" sz="2400" b="1" u="sng" dirty="0">
                <a:solidFill>
                  <a:schemeClr val="accent1"/>
                </a:solidFill>
              </a:rPr>
              <a:t>severity</a:t>
            </a:r>
            <a:r>
              <a:rPr lang="en-US" sz="2400" dirty="0">
                <a:solidFill>
                  <a:schemeClr val="accent1"/>
                </a:solidFill>
              </a:rPr>
              <a:t> is also rising significantly:</a:t>
            </a:r>
          </a:p>
          <a:p>
            <a:pPr marL="800100" lvl="1" indent="-342900" algn="just">
              <a:spcAft>
                <a:spcPts val="1200"/>
              </a:spcAft>
              <a:buFont typeface="Arial" panose="020B0604020202020204" pitchFamily="34" charset="0"/>
              <a:buChar char="•"/>
            </a:pPr>
            <a:r>
              <a:rPr lang="en-US" sz="2400" dirty="0">
                <a:solidFill>
                  <a:schemeClr val="accent1"/>
                </a:solidFill>
              </a:rPr>
              <a:t>Average claim in mid-1990s = $19k. </a:t>
            </a:r>
          </a:p>
          <a:p>
            <a:pPr marL="800100" lvl="1" indent="-342900" algn="just">
              <a:spcAft>
                <a:spcPts val="1200"/>
              </a:spcAft>
              <a:buFont typeface="Arial" panose="020B0604020202020204" pitchFamily="34" charset="0"/>
              <a:buChar char="•"/>
            </a:pPr>
            <a:r>
              <a:rPr lang="en-US" sz="2400" dirty="0">
                <a:solidFill>
                  <a:schemeClr val="accent1"/>
                </a:solidFill>
              </a:rPr>
              <a:t>Average claim in mid-2000s = $39k.</a:t>
            </a:r>
          </a:p>
          <a:p>
            <a:pPr marL="800100" lvl="1" indent="-342900" algn="just">
              <a:spcAft>
                <a:spcPts val="1200"/>
              </a:spcAft>
              <a:buFont typeface="Arial" panose="020B0604020202020204" pitchFamily="34" charset="0"/>
              <a:buChar char="•"/>
            </a:pPr>
            <a:r>
              <a:rPr lang="en-US" sz="2400" dirty="0">
                <a:solidFill>
                  <a:schemeClr val="accent1"/>
                </a:solidFill>
              </a:rPr>
              <a:t>Average claim today = $90k.</a:t>
            </a:r>
          </a:p>
          <a:p>
            <a:pPr marL="342900" indent="-342900" algn="just">
              <a:spcAft>
                <a:spcPts val="1200"/>
              </a:spcAft>
              <a:buFont typeface="Arial" panose="020B0604020202020204" pitchFamily="34" charset="0"/>
              <a:buChar char="•"/>
            </a:pPr>
            <a:r>
              <a:rPr lang="en-US" sz="2400" dirty="0">
                <a:solidFill>
                  <a:schemeClr val="accent1"/>
                </a:solidFill>
              </a:rPr>
              <a:t>Social inflation is contributing to the severity trend.</a:t>
            </a:r>
          </a:p>
          <a:p>
            <a:pPr marL="342900" indent="-342900" algn="just">
              <a:spcAft>
                <a:spcPts val="1200"/>
              </a:spcAft>
              <a:buFont typeface="Arial" panose="020B0604020202020204" pitchFamily="34" charset="0"/>
              <a:buChar char="•"/>
            </a:pPr>
            <a:r>
              <a:rPr lang="en-US" sz="2400" dirty="0">
                <a:solidFill>
                  <a:schemeClr val="accent1"/>
                </a:solidFill>
              </a:rPr>
              <a:t>Plaintiff Attorneys are focusing on the </a:t>
            </a:r>
            <a:r>
              <a:rPr lang="en-US" sz="2400" b="1" i="1" u="sng" dirty="0">
                <a:solidFill>
                  <a:schemeClr val="accent1"/>
                </a:solidFill>
              </a:rPr>
              <a:t>service</a:t>
            </a:r>
            <a:r>
              <a:rPr lang="en-US" sz="2400" dirty="0">
                <a:solidFill>
                  <a:schemeClr val="accent1"/>
                </a:solidFill>
              </a:rPr>
              <a:t> side of dentistry, to push the severity trend. </a:t>
            </a:r>
          </a:p>
        </p:txBody>
      </p:sp>
      <p:sp>
        <p:nvSpPr>
          <p:cNvPr id="6" name="Title 1"/>
          <p:cNvSpPr>
            <a:spLocks noGrp="1"/>
          </p:cNvSpPr>
          <p:nvPr>
            <p:ph type="title"/>
          </p:nvPr>
        </p:nvSpPr>
        <p:spPr>
          <a:xfrm>
            <a:off x="414731" y="333772"/>
            <a:ext cx="11058132" cy="709743"/>
          </a:xfrm>
        </p:spPr>
        <p:txBody>
          <a:bodyPr/>
          <a:lstStyle/>
          <a:p>
            <a:r>
              <a:rPr lang="en-US" dirty="0" smtClean="0"/>
              <a:t>Today's Malpractice Environment </a:t>
            </a:r>
            <a:endParaRPr lang="en-US" dirty="0"/>
          </a:p>
        </p:txBody>
      </p:sp>
      <p:pic>
        <p:nvPicPr>
          <p:cNvPr id="7" name="Picture 6"/>
          <p:cNvPicPr>
            <a:picLocks noChangeAspect="1"/>
          </p:cNvPicPr>
          <p:nvPr/>
        </p:nvPicPr>
        <p:blipFill rotWithShape="1">
          <a:blip r:embed="rId4">
            <a:extLst>
              <a:ext uri="{28A0092B-C50C-407E-A947-70E740481C1C}">
                <a14:useLocalDpi xmlns:a14="http://schemas.microsoft.com/office/drawing/2010/main" xmlns="" val="0"/>
              </a:ext>
            </a:extLst>
          </a:blip>
          <a:srcRect r="6565"/>
          <a:stretch/>
        </p:blipFill>
        <p:spPr>
          <a:xfrm>
            <a:off x="8346255" y="630683"/>
            <a:ext cx="3638976" cy="1140494"/>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7384624" y="2004560"/>
            <a:ext cx="3776133" cy="1791016"/>
          </a:xfrm>
          <a:prstGeom prst="rect">
            <a:avLst/>
          </a:prstGeom>
        </p:spPr>
      </p:pic>
      <p:pic>
        <p:nvPicPr>
          <p:cNvPr id="9" name="Picture 8"/>
          <p:cNvPicPr>
            <a:picLocks noChangeAspect="1"/>
          </p:cNvPicPr>
          <p:nvPr/>
        </p:nvPicPr>
        <p:blipFill rotWithShape="1">
          <a:blip r:embed="rId6">
            <a:extLst>
              <a:ext uri="{28A0092B-C50C-407E-A947-70E740481C1C}">
                <a14:useLocalDpi xmlns:a14="http://schemas.microsoft.com/office/drawing/2010/main" xmlns="" val="0"/>
              </a:ext>
            </a:extLst>
          </a:blip>
          <a:srcRect r="16050"/>
          <a:stretch/>
        </p:blipFill>
        <p:spPr>
          <a:xfrm>
            <a:off x="9106563" y="4097315"/>
            <a:ext cx="2878668" cy="1759900"/>
          </a:xfrm>
          <a:prstGeom prst="rect">
            <a:avLst/>
          </a:prstGeom>
        </p:spPr>
      </p:pic>
    </p:spTree>
    <p:custDataLst>
      <p:tags r:id="rId1"/>
    </p:custDataLst>
    <p:extLst>
      <p:ext uri="{BB962C8B-B14F-4D97-AF65-F5344CB8AC3E}">
        <p14:creationId xmlns:p14="http://schemas.microsoft.com/office/powerpoint/2010/main" xmlns="" val="1423629510"/>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A135043-C596-1A48-8BDA-03EB29A64DF4}" type="slidenum">
              <a:rPr lang="en-US" smtClean="0"/>
              <a:pPr/>
              <a:t>9</a:t>
            </a:fld>
            <a:endParaRPr lang="en-US" dirty="0"/>
          </a:p>
        </p:txBody>
      </p:sp>
      <p:sp>
        <p:nvSpPr>
          <p:cNvPr id="6" name="Title 1"/>
          <p:cNvSpPr>
            <a:spLocks noGrp="1"/>
          </p:cNvSpPr>
          <p:nvPr>
            <p:ph type="title"/>
          </p:nvPr>
        </p:nvSpPr>
        <p:spPr>
          <a:xfrm>
            <a:off x="414731" y="333772"/>
            <a:ext cx="11058132" cy="709743"/>
          </a:xfrm>
        </p:spPr>
        <p:txBody>
          <a:bodyPr/>
          <a:lstStyle/>
          <a:p>
            <a:r>
              <a:rPr lang="en-US" dirty="0"/>
              <a:t>Increasing "Shock" Verdicts Nationwide</a:t>
            </a:r>
          </a:p>
        </p:txBody>
      </p:sp>
      <p:pic>
        <p:nvPicPr>
          <p:cNvPr id="10" name="Picture 9"/>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14731" y="1095951"/>
            <a:ext cx="10756374" cy="5163378"/>
          </a:xfrm>
          <a:prstGeom prst="rect">
            <a:avLst/>
          </a:prstGeom>
        </p:spPr>
      </p:pic>
    </p:spTree>
    <p:custDataLst>
      <p:tags r:id="rId1"/>
    </p:custDataLst>
    <p:extLst>
      <p:ext uri="{BB962C8B-B14F-4D97-AF65-F5344CB8AC3E}">
        <p14:creationId xmlns:p14="http://schemas.microsoft.com/office/powerpoint/2010/main" xmlns="" val="768672296"/>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PVERSION" val="5"/>
  <p:tag name="TPFULLVERSION" val="5.3.1.3337"/>
  <p:tag name="PPTVERSION" val="15"/>
  <p:tag name="TPOS" val="2"/>
  <p:tag name="MIO_NATIVESECTIONS_V2" val="﻿&lt;?xml version=&quot;1.0&quot; encoding=&quot;utf-8&quot;?&gt;&lt;ArrayOfNativeSection xmlns:xsi=&quot;http://www.w3.org/2001/XMLSchema-instance&quot; xmlns:xsd=&quot;http://www.w3.org/2001/XMLSchema&quot;&gt;&lt;NativeSection&gt;&lt;SectionId&gt;{5A149F44-6C79-4884-B2C5-CD6C932B8C34}&lt;/SectionId&gt;&lt;Name&gt;Default Section&lt;/Name&gt;&lt;SlidesCount&gt;53&lt;/SlidesCount&gt;&lt;SlideGuids /&gt;&lt;/NativeSection&gt;&lt;/ArrayOfNativeSection&gt;"/>
  <p:tag name="MIO_EKGUID" val="1760688a-4e23-460a-a64e-b06a79de3818"/>
  <p:tag name="MIO_UPDATE" val="True"/>
  <p:tag name="MIO_VERSION" val="23.10.2020 17:59:01"/>
  <p:tag name="MIO_DBID" val="0381E0D7-FC53-471D-B0C4-7A7ABA4970BB"/>
  <p:tag name="MIO_LASTDOWNLOADED" val="30.10.2020 09:49:02"/>
  <p:tag name="MIO_OBJECTNAME" val="Informed Consent CME-CDE Update_10-23-20 (2020)"/>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GUID" val="5b92e9bd-c8e3-4307-9ff0-53562581dbd0"/>
  <p:tag name="MIO_EKGUID" val="4f17265f-4ad6-4921-a415-5b7a8f950de5"/>
  <p:tag name="MIO_UPDATE" val="True"/>
  <p:tag name="MIO_VERSION" val="22.10.2020 14:28:14"/>
  <p:tag name="MIO_DBID" val="0381E0D7-FC53-471D-B0C4-7A7ABA4970BB"/>
  <p:tag name="MIO_LASTDOWNLOADED" val="30.10.2020 09:51:33"/>
  <p:tag name="MIO_OBJECTNAME" val="Speaker Bio (26)"/>
  <p:tag name="MIO_LASTEDITORNAME" val="Laura Cascella"/>
</p:tagLst>
</file>

<file path=ppt/tags/tag14.xml><?xml version="1.0" encoding="utf-8"?>
<p:tagLst xmlns:a="http://schemas.openxmlformats.org/drawingml/2006/main" xmlns:r="http://schemas.openxmlformats.org/officeDocument/2006/relationships" xmlns:p="http://schemas.openxmlformats.org/presentationml/2006/main">
  <p:tag name="MIO_GUID" val="f7d64fa1-4920-4872-a0f7-f45e071ac17b"/>
  <p:tag name="MIO_EKGUID" val="80b97451-016f-4d0d-b953-e5598f2016ff"/>
  <p:tag name="MIO_UPDATE" val="True"/>
  <p:tag name="MIO_VERSION" val="19.10.2020 16:41:40"/>
  <p:tag name="MIO_DBID" val="0381E0D7-FC53-471D-B0C4-7A7ABA4970BB"/>
  <p:tag name="MIO_LASTDOWNLOADED" val="09.02.2021 15:46:29"/>
  <p:tag name="MIO_OBJECTNAME" val="Risk Education Disclaimer"/>
  <p:tag name="MIO_LASTEDITORNAME" val="Rachel Rosen"/>
</p:tagLst>
</file>

<file path=ppt/tags/tag15.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16.xml><?xml version="1.0" encoding="utf-8"?>
<p:tagLst xmlns:a="http://schemas.openxmlformats.org/drawingml/2006/main" xmlns:r="http://schemas.openxmlformats.org/officeDocument/2006/relationships" xmlns:p="http://schemas.openxmlformats.org/presentationml/2006/main">
  <p:tag name="MIO_GUID" val="f7d64fa1-4920-4872-a0f7-f45e071ac17b"/>
  <p:tag name="MIO_EKGUID" val="80b97451-016f-4d0d-b953-e5598f2016ff"/>
  <p:tag name="MIO_UPDATE" val="True"/>
  <p:tag name="MIO_VERSION" val="19.10.2020 16:41:40"/>
  <p:tag name="MIO_DBID" val="0381E0D7-FC53-471D-B0C4-7A7ABA4970BB"/>
  <p:tag name="MIO_LASTDOWNLOADED" val="09.02.2021 15:46:29"/>
  <p:tag name="MIO_OBJECTNAME" val="Risk Education Disclaimer"/>
  <p:tag name="MIO_LASTEDITORNAME" val="Rachel Rosen"/>
</p:tagLst>
</file>

<file path=ppt/tags/tag17.xml><?xml version="1.0" encoding="utf-8"?>
<p:tagLst xmlns:a="http://schemas.openxmlformats.org/drawingml/2006/main" xmlns:r="http://schemas.openxmlformats.org/officeDocument/2006/relationships" xmlns:p="http://schemas.openxmlformats.org/presentationml/2006/main">
  <p:tag name="MIO_GUID" val="15d3dcda-7a49-4f43-a898-82a2ce192ee4"/>
  <p:tag name="MIO_EKGUID" val="37fec579-1483-43f9-b23e-d4fab6140384"/>
  <p:tag name="MIO_UPDATE" val="True"/>
  <p:tag name="MIO_VERSION" val="23.10.2020 17:58:51"/>
  <p:tag name="MIO_DBID" val="0381e0d7-fc53-471d-b0c4-7a7aba4970bb"/>
  <p:tag name="MIO_LASTDOWNLOADED" val="23.10.2020 14:09:18"/>
  <p:tag name="MIO_OBJECTNAME" val="Objectives"/>
  <p:tag name="MIO_LASTEDITORNAME" val="Rachel Rosen"/>
</p:tagLst>
</file>

<file path=ppt/tags/tag18.xml><?xml version="1.0" encoding="utf-8"?>
<p:tagLst xmlns:a="http://schemas.openxmlformats.org/drawingml/2006/main" xmlns:r="http://schemas.openxmlformats.org/officeDocument/2006/relationships" xmlns:p="http://schemas.openxmlformats.org/presentationml/2006/main">
  <p:tag name="MIO_EKGUID" val="9c642b21-092e-4eec-aa51-edbe56beadd9"/>
  <p:tag name="MIO_GUID" val="94b5e534-0041-49ca-9f63-8df8362f4c4a"/>
  <p:tag name="MIO_UPDATE" val="True"/>
  <p:tag name="MIO_VERSION" val="10.11.2020 22:36:30"/>
  <p:tag name="MIO_DBID" val="0381E0D7-FC53-471D-B0C4-7A7ABA4970BB"/>
  <p:tag name="MIO_LASTDOWNLOADED" val="29.04.2021 09:28:44"/>
  <p:tag name="MIO_OBJECTNAME" val="Check Mark in Circle_Cloud Blue"/>
  <p:tag name="MIO_LASTEDITORNAME" val="Laura Cascella"/>
</p:tagLst>
</file>

<file path=ppt/tags/tag19.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False"/>
  <p:tag name="MIO_SHOW_FOOTER" val="False"/>
  <p:tag name="MIO_SHOW_PAGENUMBER" val="True"/>
  <p:tag name="MIO_AVOID_BLANK_LAYOUT" val="True"/>
  <p:tag name="MIO_CD_LAYOUT_VALID_AREA" val="False"/>
  <p:tag name="MIO_NUMBER_OF_VALID_LAYOUTS" val="17"/>
  <p:tag name="MIO_HDS" val="True"/>
  <p:tag name="MIO_SKIPVERSION" val="01.01.0001 00:00:00"/>
  <p:tag name="MIO_EKGUID" val="2b23c99a-e82d-44a5-8fc4-fcfd64ccfb14"/>
  <p:tag name="MIO_UPDATE" val="True"/>
  <p:tag name="MIO_VERSION" val="08.03.2021 20:38:43"/>
  <p:tag name="MIO_DBID" val="0381E0D7-FC53-471D-B0C4-7A7ABA4970BB"/>
  <p:tag name="MIO_LASTDOWNLOADED" val="29.04.2021 09:31:39"/>
  <p:tag name="MIO_OBJECTNAME" val="MPG Master"/>
  <p:tag name="MIO_LASTEDITORNAME" val="johan "/>
  <p:tag name="MIO_CDID" val="d30371fb-bd2b-4816-a0ce-bd6a1479ab6b"/>
</p:tagLst>
</file>

<file path=ppt/tags/tag20.xml><?xml version="1.0" encoding="utf-8"?>
<p:tagLst xmlns:a="http://schemas.openxmlformats.org/drawingml/2006/main" xmlns:r="http://schemas.openxmlformats.org/officeDocument/2006/relationships" xmlns:p="http://schemas.openxmlformats.org/presentationml/2006/main">
  <p:tag name="MIO_GUID" val="f7d64fa1-4920-4872-a0f7-f45e071ac17b"/>
  <p:tag name="MIO_EKGUID" val="80b97451-016f-4d0d-b953-e5598f2016ff"/>
  <p:tag name="MIO_UPDATE" val="True"/>
  <p:tag name="MIO_VERSION" val="19.10.2020 16:41:40"/>
  <p:tag name="MIO_DBID" val="0381E0D7-FC53-471D-B0C4-7A7ABA4970BB"/>
  <p:tag name="MIO_LASTDOWNLOADED" val="09.02.2021 15:46:29"/>
  <p:tag name="MIO_OBJECTNAME" val="Risk Education Disclaimer"/>
  <p:tag name="MIO_LASTEDITORNAME" val="Rachel Rosen"/>
</p:tagLst>
</file>

<file path=ppt/tags/tag21.xml><?xml version="1.0" encoding="utf-8"?>
<p:tagLst xmlns:a="http://schemas.openxmlformats.org/drawingml/2006/main" xmlns:r="http://schemas.openxmlformats.org/officeDocument/2006/relationships" xmlns:p="http://schemas.openxmlformats.org/presentationml/2006/main">
  <p:tag name="MIO_GUID" val="f7d64fa1-4920-4872-a0f7-f45e071ac17b"/>
  <p:tag name="MIO_EKGUID" val="80b97451-016f-4d0d-b953-e5598f2016ff"/>
  <p:tag name="MIO_UPDATE" val="True"/>
  <p:tag name="MIO_VERSION" val="19.10.2020 16:41:40"/>
  <p:tag name="MIO_DBID" val="0381E0D7-FC53-471D-B0C4-7A7ABA4970BB"/>
  <p:tag name="MIO_LASTDOWNLOADED" val="09.02.2021 15:46:29"/>
  <p:tag name="MIO_OBJECTNAME" val="Risk Education Disclaimer"/>
  <p:tag name="MIO_LASTEDITORNAME" val="Rachel Rosen"/>
</p:tagLst>
</file>

<file path=ppt/tags/tag22.xml><?xml version="1.0" encoding="utf-8"?>
<p:tagLst xmlns:a="http://schemas.openxmlformats.org/drawingml/2006/main" xmlns:r="http://schemas.openxmlformats.org/officeDocument/2006/relationships" xmlns:p="http://schemas.openxmlformats.org/presentationml/2006/main">
  <p:tag name="MIO_GUID" val="7b56fcdf-e4c7-489e-8b48-53959a57da47"/>
  <p:tag name="MIO_EKGUID" val="360047c6-0732-4d55-98fc-df78e1ca160a"/>
  <p:tag name="MIO_UPDATE" val="True"/>
  <p:tag name="MIO_VERSION" val="23.10.2020 17:58:57"/>
  <p:tag name="MIO_DBID" val="0381e0d7-fc53-471d-b0c4-7a7aba4970bb"/>
  <p:tag name="MIO_LASTDOWNLOADED" val="23.10.2020 14:09:24"/>
  <p:tag name="MIO_OBJECTNAME" val="What medical situations should involve consent?"/>
  <p:tag name="MIO_LASTEDITORNAME" val="Rachel Rosen"/>
</p:tagLst>
</file>

<file path=ppt/tags/tag23.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4.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5.xml><?xml version="1.0" encoding="utf-8"?>
<p:tagLst xmlns:a="http://schemas.openxmlformats.org/drawingml/2006/main" xmlns:r="http://schemas.openxmlformats.org/officeDocument/2006/relationships" xmlns:p="http://schemas.openxmlformats.org/presentationml/2006/main">
  <p:tag name="MIO_GUID" val="15d3dcda-7a49-4f43-a898-82a2ce192ee4"/>
  <p:tag name="MIO_EKGUID" val="37fec579-1483-43f9-b23e-d4fab6140384"/>
  <p:tag name="MIO_UPDATE" val="True"/>
  <p:tag name="MIO_VERSION" val="23.10.2020 17:58:51"/>
  <p:tag name="MIO_DBID" val="0381e0d7-fc53-471d-b0c4-7a7aba4970bb"/>
  <p:tag name="MIO_LASTDOWNLOADED" val="23.10.2020 14:09:18"/>
  <p:tag name="MIO_OBJECTNAME" val="Objectives"/>
  <p:tag name="MIO_LASTEDITORNAME" val="Rachel Rosen"/>
</p:tagLst>
</file>

<file path=ppt/tags/tag26.xml><?xml version="1.0" encoding="utf-8"?>
<p:tagLst xmlns:a="http://schemas.openxmlformats.org/drawingml/2006/main" xmlns:r="http://schemas.openxmlformats.org/officeDocument/2006/relationships" xmlns:p="http://schemas.openxmlformats.org/presentationml/2006/main">
  <p:tag name="MIO_EKGUID" val="9c642b21-092e-4eec-aa51-edbe56beadd9"/>
  <p:tag name="MIO_GUID" val="94b5e534-0041-49ca-9f63-8df8362f4c4a"/>
  <p:tag name="MIO_UPDATE" val="True"/>
  <p:tag name="MIO_VERSION" val="10.11.2020 22:36:30"/>
  <p:tag name="MIO_DBID" val="0381E0D7-FC53-471D-B0C4-7A7ABA4970BB"/>
  <p:tag name="MIO_LASTDOWNLOADED" val="29.04.2021 09:28:44"/>
  <p:tag name="MIO_OBJECTNAME" val="Check Mark in Circle_Cloud Blue"/>
  <p:tag name="MIO_LASTEDITORNAME" val="Laura Cascella"/>
</p:tagLst>
</file>

<file path=ppt/tags/tag27.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8.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29.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1.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2.xml><?xml version="1.0" encoding="utf-8"?>
<p:tagLst xmlns:a="http://schemas.openxmlformats.org/drawingml/2006/main" xmlns:r="http://schemas.openxmlformats.org/officeDocument/2006/relationships" xmlns:p="http://schemas.openxmlformats.org/presentationml/2006/main">
  <p:tag name="MIO_GUID" val="15d3dcda-7a49-4f43-a898-82a2ce192ee4"/>
  <p:tag name="MIO_EKGUID" val="37fec579-1483-43f9-b23e-d4fab6140384"/>
  <p:tag name="MIO_UPDATE" val="True"/>
  <p:tag name="MIO_VERSION" val="23.10.2020 17:58:51"/>
  <p:tag name="MIO_DBID" val="0381e0d7-fc53-471d-b0c4-7a7aba4970bb"/>
  <p:tag name="MIO_LASTDOWNLOADED" val="23.10.2020 14:09:18"/>
  <p:tag name="MIO_OBJECTNAME" val="Objectives"/>
  <p:tag name="MIO_LASTEDITORNAME" val="Rachel Rosen"/>
</p:tagLst>
</file>

<file path=ppt/tags/tag33.xml><?xml version="1.0" encoding="utf-8"?>
<p:tagLst xmlns:a="http://schemas.openxmlformats.org/drawingml/2006/main" xmlns:r="http://schemas.openxmlformats.org/officeDocument/2006/relationships" xmlns:p="http://schemas.openxmlformats.org/presentationml/2006/main">
  <p:tag name="MIO_EKGUID" val="9c642b21-092e-4eec-aa51-edbe56beadd9"/>
  <p:tag name="MIO_GUID" val="94b5e534-0041-49ca-9f63-8df8362f4c4a"/>
  <p:tag name="MIO_UPDATE" val="True"/>
  <p:tag name="MIO_VERSION" val="10.11.2020 22:36:30"/>
  <p:tag name="MIO_DBID" val="0381E0D7-FC53-471D-B0C4-7A7ABA4970BB"/>
  <p:tag name="MIO_LASTDOWNLOADED" val="29.04.2021 09:28:44"/>
  <p:tag name="MIO_OBJECTNAME" val="Check Mark in Circle_Cloud Blue"/>
  <p:tag name="MIO_LASTEDITORNAME" val="Laura Cascella"/>
</p:tagLst>
</file>

<file path=ppt/tags/tag34.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35.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36.xml><?xml version="1.0" encoding="utf-8"?>
<p:tagLst xmlns:a="http://schemas.openxmlformats.org/drawingml/2006/main" xmlns:r="http://schemas.openxmlformats.org/officeDocument/2006/relationships" xmlns:p="http://schemas.openxmlformats.org/presentationml/2006/main">
  <p:tag name="MIO_GUID" val="15d3dcda-7a49-4f43-a898-82a2ce192ee4"/>
  <p:tag name="MIO_EKGUID" val="37fec579-1483-43f9-b23e-d4fab6140384"/>
  <p:tag name="MIO_UPDATE" val="True"/>
  <p:tag name="MIO_VERSION" val="23.10.2020 17:58:51"/>
  <p:tag name="MIO_DBID" val="0381e0d7-fc53-471d-b0c4-7a7aba4970bb"/>
  <p:tag name="MIO_LASTDOWNLOADED" val="23.10.2020 14:09:18"/>
  <p:tag name="MIO_OBJECTNAME" val="Objectives"/>
  <p:tag name="MIO_LASTEDITORNAME" val="Rachel Rosen"/>
</p:tagLst>
</file>

<file path=ppt/tags/tag37.xml><?xml version="1.0" encoding="utf-8"?>
<p:tagLst xmlns:a="http://schemas.openxmlformats.org/drawingml/2006/main" xmlns:r="http://schemas.openxmlformats.org/officeDocument/2006/relationships" xmlns:p="http://schemas.openxmlformats.org/presentationml/2006/main">
  <p:tag name="MIO_EKGUID" val="9c642b21-092e-4eec-aa51-edbe56beadd9"/>
  <p:tag name="MIO_GUID" val="94b5e534-0041-49ca-9f63-8df8362f4c4a"/>
  <p:tag name="MIO_UPDATE" val="True"/>
  <p:tag name="MIO_VERSION" val="10.11.2020 22:36:30"/>
  <p:tag name="MIO_DBID" val="0381E0D7-FC53-471D-B0C4-7A7ABA4970BB"/>
  <p:tag name="MIO_LASTDOWNLOADED" val="29.04.2021 09:28:44"/>
  <p:tag name="MIO_OBJECTNAME" val="Check Mark in Circle_Cloud Blue"/>
  <p:tag name="MIO_LASTEDITORNAME" val="Laura Cascella"/>
</p:tagLst>
</file>

<file path=ppt/tags/tag38.xml><?xml version="1.0" encoding="utf-8"?>
<p:tagLst xmlns:a="http://schemas.openxmlformats.org/drawingml/2006/main" xmlns:r="http://schemas.openxmlformats.org/officeDocument/2006/relationships" xmlns:p="http://schemas.openxmlformats.org/presentationml/2006/main">
  <p:tag name="MIO_GUID" val="15d3dcda-7a49-4f43-a898-82a2ce192ee4"/>
  <p:tag name="MIO_EKGUID" val="37fec579-1483-43f9-b23e-d4fab6140384"/>
  <p:tag name="MIO_UPDATE" val="True"/>
  <p:tag name="MIO_VERSION" val="23.10.2020 17:58:51"/>
  <p:tag name="MIO_DBID" val="0381e0d7-fc53-471d-b0c4-7a7aba4970bb"/>
  <p:tag name="MIO_LASTDOWNLOADED" val="23.10.2020 14:09:18"/>
  <p:tag name="MIO_OBJECTNAME" val="Objectives"/>
  <p:tag name="MIO_LASTEDITORNAME" val="Rachel Rosen"/>
</p:tagLst>
</file>

<file path=ppt/tags/tag39.xml><?xml version="1.0" encoding="utf-8"?>
<p:tagLst xmlns:a="http://schemas.openxmlformats.org/drawingml/2006/main" xmlns:r="http://schemas.openxmlformats.org/officeDocument/2006/relationships" xmlns:p="http://schemas.openxmlformats.org/presentationml/2006/main">
  <p:tag name="MIO_EKGUID" val="9c642b21-092e-4eec-aa51-edbe56beadd9"/>
  <p:tag name="MIO_GUID" val="94b5e534-0041-49ca-9f63-8df8362f4c4a"/>
  <p:tag name="MIO_UPDATE" val="True"/>
  <p:tag name="MIO_VERSION" val="10.11.2020 22:36:30"/>
  <p:tag name="MIO_DBID" val="0381E0D7-FC53-471D-B0C4-7A7ABA4970BB"/>
  <p:tag name="MIO_LASTDOWNLOADED" val="29.04.2021 09:28:44"/>
  <p:tag name="MIO_OBJECTNAME" val="Check Mark in Circle_Cloud Blue"/>
  <p:tag name="MIO_LASTEDITORNAME" val="Laura Cascella"/>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xmlns="" name="Presentation4" id="{6E849842-F7CB-43FF-848A-868853056BDB}" vid="{E8B3603F-6E47-4CA0-A53C-E7E9632338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653</TotalTime>
  <Words>3823</Words>
  <Application>Microsoft Office PowerPoint</Application>
  <PresentationFormat>Custom</PresentationFormat>
  <Paragraphs>476</Paragraphs>
  <Slides>48</Slides>
  <Notes>35</Notes>
  <HiddenSlides>0</HiddenSlides>
  <MMClips>0</MMClips>
  <ScaleCrop>false</ScaleCrop>
  <HeadingPairs>
    <vt:vector size="4" baseType="variant">
      <vt:variant>
        <vt:lpstr>Theme</vt:lpstr>
      </vt:variant>
      <vt:variant>
        <vt:i4>1</vt:i4>
      </vt:variant>
      <vt:variant>
        <vt:lpstr>Slide Titles</vt:lpstr>
      </vt:variant>
      <vt:variant>
        <vt:i4>48</vt:i4>
      </vt:variant>
    </vt:vector>
  </HeadingPairs>
  <TitlesOfParts>
    <vt:vector size="49" baseType="lpstr">
      <vt:lpstr>1_MPG Theme</vt:lpstr>
      <vt:lpstr>Disasters in Dentistry</vt:lpstr>
      <vt:lpstr>Speaker Bio</vt:lpstr>
      <vt:lpstr>Disclaimer</vt:lpstr>
      <vt:lpstr>Slide 4</vt:lpstr>
      <vt:lpstr>MedPro Dental Highlights</vt:lpstr>
      <vt:lpstr>Objectives</vt:lpstr>
      <vt:lpstr>Today's Malpractice Environment </vt:lpstr>
      <vt:lpstr>Today's Malpractice Environment </vt:lpstr>
      <vt:lpstr>Increasing "Shock" Verdicts Nationwide</vt:lpstr>
      <vt:lpstr>Reasons for Today's Malpractice Environment</vt:lpstr>
      <vt:lpstr>Key Definitions</vt:lpstr>
      <vt:lpstr>Professional Malpractice—Definition</vt:lpstr>
      <vt:lpstr>Who or What Determines the Standard of Care?</vt:lpstr>
      <vt:lpstr>Informed Consent [or lack thereof]</vt:lpstr>
      <vt:lpstr>Informed Consent Errors</vt:lpstr>
      <vt:lpstr>Minimum Disclosures + The Informed Consent Discussion</vt:lpstr>
      <vt:lpstr>Informed Consent &amp; Documentation—A Good Example</vt:lpstr>
      <vt:lpstr>Customized Consent</vt:lpstr>
      <vt:lpstr>Case Study #1: Informed Consent</vt:lpstr>
      <vt:lpstr>Case Study #1: Informed Consent</vt:lpstr>
      <vt:lpstr>Slide 21</vt:lpstr>
      <vt:lpstr>Preoperative Treatment Error  Surgical Errors </vt:lpstr>
      <vt:lpstr>Preoperative: Surgical / Treatment Errors</vt:lpstr>
      <vt:lpstr>Case Study #2: Preoperative Treatment Errors: Surgical Pre-Op</vt:lpstr>
      <vt:lpstr>Case Study #2: Preoperative Treatment Errors: Surgical Pre-Op</vt:lpstr>
      <vt:lpstr>Case Study #2: Preoperative Treatment Errors: Surgical Pre-Op</vt:lpstr>
      <vt:lpstr>Case Study #2: Preoperative Treatment Errors: Surgical Pre-Op</vt:lpstr>
      <vt:lpstr>Case Study #2: Preoperative Treatment Errors: Surgical Pre-Op</vt:lpstr>
      <vt:lpstr>Case Study #2: Preoperative Treatment Errors: Surgical Pre-Op</vt:lpstr>
      <vt:lpstr>Slide 30</vt:lpstr>
      <vt:lpstr>Intraoperative Errors</vt:lpstr>
      <vt:lpstr>Intraoperative Errors</vt:lpstr>
      <vt:lpstr>Case Study #3: Intraoperative Treatment Errors: Anesthesia </vt:lpstr>
      <vt:lpstr>Case Study #3: Intraoperative Treatment Errors: Anesthesia </vt:lpstr>
      <vt:lpstr>Case Study #3: Intraoperative Treatment Errors: Anesthesia </vt:lpstr>
      <vt:lpstr>Case Study #3: Intraoperative Treatment Errors: Anesthesia </vt:lpstr>
      <vt:lpstr>Post-Treatment Errors</vt:lpstr>
      <vt:lpstr>Postoperative Errors: Failure to Follow-Up</vt:lpstr>
      <vt:lpstr>Case Study #4: Postoperative Errors: Failure to Follow-Up</vt:lpstr>
      <vt:lpstr>Case Study #4: Postoperative Errors: Failure to Follow-Up</vt:lpstr>
      <vt:lpstr>Case Study #5: Postoperative Errors: Failure to Follow-Up</vt:lpstr>
      <vt:lpstr>Case Study #5: Postoperative Errors: Failure to Follow-Up</vt:lpstr>
      <vt:lpstr>Slide 43</vt:lpstr>
      <vt:lpstr>Slide 44</vt:lpstr>
      <vt:lpstr>Your Malpractice Carrier</vt:lpstr>
      <vt:lpstr>How Your Malpractice Carrier Should Help</vt:lpstr>
      <vt:lpstr>Malpractice Insurance: What Should I Look For?</vt:lpstr>
      <vt:lpstr>Slide 4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dPro Group</dc:creator>
  <cp:lastModifiedBy>ranjeev salwan</cp:lastModifiedBy>
  <cp:revision>1761</cp:revision>
  <cp:lastPrinted>2023-09-23T16:23:44Z</cp:lastPrinted>
  <dcterms:created xsi:type="dcterms:W3CDTF">2012-07-17T20:11:45Z</dcterms:created>
  <dcterms:modified xsi:type="dcterms:W3CDTF">2024-01-22T18:08:00Z</dcterms:modified>
</cp:coreProperties>
</file>